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notesSlides/notesSlide4.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5.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710" r:id="rId4"/>
    <p:sldMasterId id="2147483735" r:id="rId5"/>
  </p:sldMasterIdLst>
  <p:notesMasterIdLst>
    <p:notesMasterId r:id="rId17"/>
  </p:notesMasterIdLst>
  <p:handoutMasterIdLst>
    <p:handoutMasterId r:id="rId18"/>
  </p:handoutMasterIdLst>
  <p:sldIdLst>
    <p:sldId id="2694" r:id="rId6"/>
    <p:sldId id="2518" r:id="rId7"/>
    <p:sldId id="2685" r:id="rId8"/>
    <p:sldId id="2684" r:id="rId9"/>
    <p:sldId id="2680" r:id="rId10"/>
    <p:sldId id="2291" r:id="rId11"/>
    <p:sldId id="2686" r:id="rId12"/>
    <p:sldId id="2578" r:id="rId13"/>
    <p:sldId id="2505" r:id="rId14"/>
    <p:sldId id="2720" r:id="rId15"/>
    <p:sldId id="1471" r:id="rId16"/>
  </p:sldIdLst>
  <p:sldSz cx="9144000" cy="6858000" type="screen4x3"/>
  <p:notesSz cx="6735763" cy="9866313"/>
  <p:custDataLst>
    <p:tags r:id="rId19"/>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925" userDrawn="1">
          <p15:clr>
            <a:srgbClr val="A4A3A4"/>
          </p15:clr>
        </p15:guide>
        <p15:guide id="3" pos="907" userDrawn="1">
          <p15:clr>
            <a:srgbClr val="A4A3A4"/>
          </p15:clr>
        </p15:guide>
        <p15:guide id="7" orient="horz" pos="4201" userDrawn="1">
          <p15:clr>
            <a:srgbClr val="A4A3A4"/>
          </p15:clr>
        </p15:guide>
        <p15:guide id="8" orient="horz" pos="3453" userDrawn="1">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ncisco Perdomo Lorenzo" initials="FPL" lastIdx="21" clrIdx="0"/>
  <p:cmAuthor id="2" name="Ronny Quintero Leguisano" initials="RQL" lastIdx="30" clrIdx="1"/>
  <p:cmAuthor id="3" name="Pilar" initials="P" lastIdx="5" clrIdx="2">
    <p:extLst>
      <p:ext uri="{19B8F6BF-5375-455C-9EA6-DF929625EA0E}">
        <p15:presenceInfo xmlns:p15="http://schemas.microsoft.com/office/powerpoint/2012/main" userId="Pilar" providerId="None"/>
      </p:ext>
    </p:extLst>
  </p:cmAuthor>
  <p:cmAuthor id="4" name="Esther Bueno Benito" initials="EBB" lastIdx="1" clrIdx="3">
    <p:extLst>
      <p:ext uri="{19B8F6BF-5375-455C-9EA6-DF929625EA0E}">
        <p15:presenceInfo xmlns:p15="http://schemas.microsoft.com/office/powerpoint/2012/main" userId="S::ebueno@vectoritcgroup.com::8268b4bc-f835-4800-994a-8b0fa04f7b41" providerId="AD"/>
      </p:ext>
    </p:extLst>
  </p:cmAuthor>
  <p:cmAuthor id="5" name="Pilar Pérez Castillo" initials="PPC" lastIdx="1" clrIdx="4">
    <p:extLst>
      <p:ext uri="{19B8F6BF-5375-455C-9EA6-DF929625EA0E}">
        <p15:presenceInfo xmlns:p15="http://schemas.microsoft.com/office/powerpoint/2012/main" userId="Pilar Pérez Castillo" providerId="None"/>
      </p:ext>
    </p:extLst>
  </p:cmAuthor>
  <p:cmAuthor id="6" name="Calderón López, María del Carmen" initials="CLMdC" lastIdx="2" clrIdx="5">
    <p:extLst>
      <p:ext uri="{19B8F6BF-5375-455C-9EA6-DF929625EA0E}">
        <p15:presenceInfo xmlns:p15="http://schemas.microsoft.com/office/powerpoint/2012/main" userId="S::maria.calderon@ineco.com::97945727264d25c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5C1D"/>
    <a:srgbClr val="C0C1C3"/>
    <a:srgbClr val="76899F"/>
    <a:srgbClr val="80AAD9"/>
    <a:srgbClr val="FFC400"/>
    <a:srgbClr val="00B050"/>
    <a:srgbClr val="3792ED"/>
    <a:srgbClr val="1D84EB"/>
    <a:srgbClr val="9BCAF6"/>
    <a:srgbClr val="69AF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9EE282-D64E-48EB-A9B2-5A7340B40260}" v="99" dt="2022-04-21T11:55:42.111"/>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072" autoAdjust="0"/>
  </p:normalViewPr>
  <p:slideViewPr>
    <p:cSldViewPr snapToGrid="0">
      <p:cViewPr varScale="1">
        <p:scale>
          <a:sx n="99" d="100"/>
          <a:sy n="99" d="100"/>
        </p:scale>
        <p:origin x="1134" y="84"/>
      </p:cViewPr>
      <p:guideLst>
        <p:guide pos="2925"/>
        <p:guide pos="907"/>
        <p:guide orient="horz" pos="4201"/>
        <p:guide orient="horz" pos="3453"/>
      </p:guideLst>
    </p:cSldViewPr>
  </p:slideViewPr>
  <p:notesTextViewPr>
    <p:cViewPr>
      <p:scale>
        <a:sx n="3" d="2"/>
        <a:sy n="3" d="2"/>
      </p:scale>
      <p:origin x="0" y="0"/>
    </p:cViewPr>
  </p:notesTextViewPr>
  <p:notesViewPr>
    <p:cSldViewPr snapToGrid="0">
      <p:cViewPr>
        <p:scale>
          <a:sx n="1" d="2"/>
          <a:sy n="1" d="2"/>
        </p:scale>
        <p:origin x="0" y="0"/>
      </p:cViewPr>
      <p:guideLst>
        <p:guide orient="horz" pos="3108"/>
        <p:guide pos="212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ilar Pérez Castillo" userId="6e6edeb2-84ff-49f9-bd74-f1dad0a0caf5" providerId="ADAL" clId="{56C42FE8-7582-4DD0-906C-196AC179E6AF}"/>
    <pc:docChg chg="custSel modSld">
      <pc:chgData name="Pilar Pérez Castillo" userId="6e6edeb2-84ff-49f9-bd74-f1dad0a0caf5" providerId="ADAL" clId="{56C42FE8-7582-4DD0-906C-196AC179E6AF}" dt="2022-04-19T18:11:59.839" v="2"/>
      <pc:docMkLst>
        <pc:docMk/>
      </pc:docMkLst>
      <pc:sldChg chg="addCm modCm">
        <pc:chgData name="Pilar Pérez Castillo" userId="6e6edeb2-84ff-49f9-bd74-f1dad0a0caf5" providerId="ADAL" clId="{56C42FE8-7582-4DD0-906C-196AC179E6AF}" dt="2022-04-19T18:11:59.839" v="2"/>
        <pc:sldMkLst>
          <pc:docMk/>
          <pc:sldMk cId="1637348945" sldId="2695"/>
        </pc:sldMkLst>
      </pc:sldChg>
      <pc:sldChg chg="modSp mod">
        <pc:chgData name="Pilar Pérez Castillo" userId="6e6edeb2-84ff-49f9-bd74-f1dad0a0caf5" providerId="ADAL" clId="{56C42FE8-7582-4DD0-906C-196AC179E6AF}" dt="2022-04-19T18:11:32.589" v="0" actId="313"/>
        <pc:sldMkLst>
          <pc:docMk/>
          <pc:sldMk cId="179675121" sldId="2718"/>
        </pc:sldMkLst>
        <pc:spChg chg="mod">
          <ac:chgData name="Pilar Pérez Castillo" userId="6e6edeb2-84ff-49f9-bd74-f1dad0a0caf5" providerId="ADAL" clId="{56C42FE8-7582-4DD0-906C-196AC179E6AF}" dt="2022-04-19T18:11:32.589" v="0" actId="313"/>
          <ac:spMkLst>
            <pc:docMk/>
            <pc:sldMk cId="179675121" sldId="2718"/>
            <ac:spMk id="32" creationId="{6790D52E-E063-4041-855C-4037A3588B5A}"/>
          </ac:spMkLst>
        </pc:spChg>
      </pc:sldChg>
    </pc:docChg>
  </pc:docChgLst>
  <pc:docChgLst>
    <pc:chgData name="Francisco Fermín Navarro Benítez" userId="f65314a5-c535-4988-a9f4-712415269b62" providerId="ADAL" clId="{61E089E2-7CDD-4973-97AF-C6168C5999CC}"/>
    <pc:docChg chg="undo custSel addSld delSld modSld sldOrd modNotesMaster modHandout">
      <pc:chgData name="Francisco Fermín Navarro Benítez" userId="f65314a5-c535-4988-a9f4-712415269b62" providerId="ADAL" clId="{61E089E2-7CDD-4973-97AF-C6168C5999CC}" dt="2022-04-20T04:42:40.078" v="466"/>
      <pc:docMkLst>
        <pc:docMk/>
      </pc:docMkLst>
      <pc:sldChg chg="add del">
        <pc:chgData name="Francisco Fermín Navarro Benítez" userId="f65314a5-c535-4988-a9f4-712415269b62" providerId="ADAL" clId="{61E089E2-7CDD-4973-97AF-C6168C5999CC}" dt="2022-04-20T03:50:50.515" v="153" actId="2696"/>
        <pc:sldMkLst>
          <pc:docMk/>
          <pc:sldMk cId="3731905379" sldId="1369"/>
        </pc:sldMkLst>
      </pc:sldChg>
      <pc:sldChg chg="addSp delSp modSp add mod setBg modClrScheme delCm chgLayout">
        <pc:chgData name="Francisco Fermín Navarro Benítez" userId="f65314a5-c535-4988-a9f4-712415269b62" providerId="ADAL" clId="{61E089E2-7CDD-4973-97AF-C6168C5999CC}" dt="2022-04-20T04:39:35.144" v="465" actId="20577"/>
        <pc:sldMkLst>
          <pc:docMk/>
          <pc:sldMk cId="2855128201" sldId="2291"/>
        </pc:sldMkLst>
        <pc:spChg chg="add del mod ord">
          <ac:chgData name="Francisco Fermín Navarro Benítez" userId="f65314a5-c535-4988-a9f4-712415269b62" providerId="ADAL" clId="{61E089E2-7CDD-4973-97AF-C6168C5999CC}" dt="2022-04-20T04:16:57.183" v="277" actId="478"/>
          <ac:spMkLst>
            <pc:docMk/>
            <pc:sldMk cId="2855128201" sldId="2291"/>
            <ac:spMk id="2" creationId="{00BA14E0-1B11-4679-8966-04066FA538B1}"/>
          </ac:spMkLst>
        </pc:spChg>
        <pc:spChg chg="mod">
          <ac:chgData name="Francisco Fermín Navarro Benítez" userId="f65314a5-c535-4988-a9f4-712415269b62" providerId="ADAL" clId="{61E089E2-7CDD-4973-97AF-C6168C5999CC}" dt="2022-04-20T04:26:45.326" v="453" actId="14100"/>
          <ac:spMkLst>
            <pc:docMk/>
            <pc:sldMk cId="2855128201" sldId="2291"/>
            <ac:spMk id="4" creationId="{21D244A1-029D-494D-BE11-C14D881F157E}"/>
          </ac:spMkLst>
        </pc:spChg>
        <pc:spChg chg="mod">
          <ac:chgData name="Francisco Fermín Navarro Benítez" userId="f65314a5-c535-4988-a9f4-712415269b62" providerId="ADAL" clId="{61E089E2-7CDD-4973-97AF-C6168C5999CC}" dt="2022-04-20T04:20:26.784" v="344" actId="403"/>
          <ac:spMkLst>
            <pc:docMk/>
            <pc:sldMk cId="2855128201" sldId="2291"/>
            <ac:spMk id="19" creationId="{3F3796FC-D810-495D-9797-E04FE4166A69}"/>
          </ac:spMkLst>
        </pc:spChg>
        <pc:spChg chg="mod">
          <ac:chgData name="Francisco Fermín Navarro Benítez" userId="f65314a5-c535-4988-a9f4-712415269b62" providerId="ADAL" clId="{61E089E2-7CDD-4973-97AF-C6168C5999CC}" dt="2022-04-20T04:23:22.933" v="409" actId="1037"/>
          <ac:spMkLst>
            <pc:docMk/>
            <pc:sldMk cId="2855128201" sldId="2291"/>
            <ac:spMk id="20" creationId="{79A65B58-7B66-471D-BD9E-DA0A8BF1689D}"/>
          </ac:spMkLst>
        </pc:spChg>
        <pc:spChg chg="mod">
          <ac:chgData name="Francisco Fermín Navarro Benítez" userId="f65314a5-c535-4988-a9f4-712415269b62" providerId="ADAL" clId="{61E089E2-7CDD-4973-97AF-C6168C5999CC}" dt="2022-04-20T04:18:06.609" v="327" actId="20577"/>
          <ac:spMkLst>
            <pc:docMk/>
            <pc:sldMk cId="2855128201" sldId="2291"/>
            <ac:spMk id="21" creationId="{57EB7562-F1B8-4497-A073-F00A02819349}"/>
          </ac:spMkLst>
        </pc:spChg>
        <pc:spChg chg="mod">
          <ac:chgData name="Francisco Fermín Navarro Benítez" userId="f65314a5-c535-4988-a9f4-712415269b62" providerId="ADAL" clId="{61E089E2-7CDD-4973-97AF-C6168C5999CC}" dt="2022-04-20T04:21:55.761" v="378" actId="20577"/>
          <ac:spMkLst>
            <pc:docMk/>
            <pc:sldMk cId="2855128201" sldId="2291"/>
            <ac:spMk id="22" creationId="{494E1DBF-1260-45DA-B544-A6BC48B88A5F}"/>
          </ac:spMkLst>
        </pc:spChg>
        <pc:spChg chg="mod">
          <ac:chgData name="Francisco Fermín Navarro Benítez" userId="f65314a5-c535-4988-a9f4-712415269b62" providerId="ADAL" clId="{61E089E2-7CDD-4973-97AF-C6168C5999CC}" dt="2022-04-20T04:24:00.816" v="431" actId="20577"/>
          <ac:spMkLst>
            <pc:docMk/>
            <pc:sldMk cId="2855128201" sldId="2291"/>
            <ac:spMk id="23" creationId="{9A15C800-201A-4E8A-84AB-D565F4C2FAD0}"/>
          </ac:spMkLst>
        </pc:spChg>
        <pc:spChg chg="mod">
          <ac:chgData name="Francisco Fermín Navarro Benítez" userId="f65314a5-c535-4988-a9f4-712415269b62" providerId="ADAL" clId="{61E089E2-7CDD-4973-97AF-C6168C5999CC}" dt="2022-04-20T04:26:05.943" v="440" actId="6549"/>
          <ac:spMkLst>
            <pc:docMk/>
            <pc:sldMk cId="2855128201" sldId="2291"/>
            <ac:spMk id="24" creationId="{CD6BAB93-AF11-4CD1-86C2-F3118D6AFE8D}"/>
          </ac:spMkLst>
        </pc:spChg>
        <pc:spChg chg="mod">
          <ac:chgData name="Francisco Fermín Navarro Benítez" userId="f65314a5-c535-4988-a9f4-712415269b62" providerId="ADAL" clId="{61E089E2-7CDD-4973-97AF-C6168C5999CC}" dt="2022-04-20T04:17:23.279" v="301" actId="1036"/>
          <ac:spMkLst>
            <pc:docMk/>
            <pc:sldMk cId="2855128201" sldId="2291"/>
            <ac:spMk id="25" creationId="{D70D3BA0-402C-48D6-B774-ADE55D1AAA72}"/>
          </ac:spMkLst>
        </pc:spChg>
        <pc:spChg chg="mod">
          <ac:chgData name="Francisco Fermín Navarro Benítez" userId="f65314a5-c535-4988-a9f4-712415269b62" providerId="ADAL" clId="{61E089E2-7CDD-4973-97AF-C6168C5999CC}" dt="2022-04-20T04:39:35.144" v="465" actId="20577"/>
          <ac:spMkLst>
            <pc:docMk/>
            <pc:sldMk cId="2855128201" sldId="2291"/>
            <ac:spMk id="26" creationId="{457A981E-E6A4-4467-87AF-101D01546AA0}"/>
          </ac:spMkLst>
        </pc:spChg>
        <pc:spChg chg="mod">
          <ac:chgData name="Francisco Fermín Navarro Benítez" userId="f65314a5-c535-4988-a9f4-712415269b62" providerId="ADAL" clId="{61E089E2-7CDD-4973-97AF-C6168C5999CC}" dt="2022-04-20T04:22:56.687" v="400" actId="1035"/>
          <ac:spMkLst>
            <pc:docMk/>
            <pc:sldMk cId="2855128201" sldId="2291"/>
            <ac:spMk id="27" creationId="{7F50F4D4-4025-4A25-B67E-7EF87AC34FE7}"/>
          </ac:spMkLst>
        </pc:spChg>
        <pc:spChg chg="del topLvl">
          <ac:chgData name="Francisco Fermín Navarro Benítez" userId="f65314a5-c535-4988-a9f4-712415269b62" providerId="ADAL" clId="{61E089E2-7CDD-4973-97AF-C6168C5999CC}" dt="2022-04-20T04:21:01.592" v="347" actId="478"/>
          <ac:spMkLst>
            <pc:docMk/>
            <pc:sldMk cId="2855128201" sldId="2291"/>
            <ac:spMk id="29" creationId="{AC00DB1E-789C-4B3C-89C7-FF496598E22E}"/>
          </ac:spMkLst>
        </pc:spChg>
        <pc:spChg chg="mod">
          <ac:chgData name="Francisco Fermín Navarro Benítez" userId="f65314a5-c535-4988-a9f4-712415269b62" providerId="ADAL" clId="{61E089E2-7CDD-4973-97AF-C6168C5999CC}" dt="2022-04-20T04:17:23.279" v="301" actId="1036"/>
          <ac:spMkLst>
            <pc:docMk/>
            <pc:sldMk cId="2855128201" sldId="2291"/>
            <ac:spMk id="31" creationId="{5F8754F8-D7B6-4A9F-A692-EECE1BC9F16E}"/>
          </ac:spMkLst>
        </pc:spChg>
        <pc:spChg chg="del mod ord">
          <ac:chgData name="Francisco Fermín Navarro Benítez" userId="f65314a5-c535-4988-a9f4-712415269b62" providerId="ADAL" clId="{61E089E2-7CDD-4973-97AF-C6168C5999CC}" dt="2022-04-20T04:16:52.142" v="276" actId="478"/>
          <ac:spMkLst>
            <pc:docMk/>
            <pc:sldMk cId="2855128201" sldId="2291"/>
            <ac:spMk id="35" creationId="{85086DB5-1DE8-469D-B076-8EAC68ACF07F}"/>
          </ac:spMkLst>
        </pc:spChg>
        <pc:spChg chg="mod ord">
          <ac:chgData name="Francisco Fermín Navarro Benítez" userId="f65314a5-c535-4988-a9f4-712415269b62" providerId="ADAL" clId="{61E089E2-7CDD-4973-97AF-C6168C5999CC}" dt="2022-04-20T04:38:57.406" v="463"/>
          <ac:spMkLst>
            <pc:docMk/>
            <pc:sldMk cId="2855128201" sldId="2291"/>
            <ac:spMk id="69" creationId="{047801AB-03E4-4F31-AF7C-CEE3BBD4C5DE}"/>
          </ac:spMkLst>
        </pc:spChg>
        <pc:grpChg chg="mod">
          <ac:chgData name="Francisco Fermín Navarro Benítez" userId="f65314a5-c535-4988-a9f4-712415269b62" providerId="ADAL" clId="{61E089E2-7CDD-4973-97AF-C6168C5999CC}" dt="2022-04-20T04:17:23.279" v="301" actId="1036"/>
          <ac:grpSpMkLst>
            <pc:docMk/>
            <pc:sldMk cId="2855128201" sldId="2291"/>
            <ac:grpSpMk id="7" creationId="{CB5ED7B2-0C96-4BA8-B797-A8E89D1234E5}"/>
          </ac:grpSpMkLst>
        </pc:grpChg>
        <pc:grpChg chg="mod">
          <ac:chgData name="Francisco Fermín Navarro Benítez" userId="f65314a5-c535-4988-a9f4-712415269b62" providerId="ADAL" clId="{61E089E2-7CDD-4973-97AF-C6168C5999CC}" dt="2022-04-20T04:17:23.279" v="301" actId="1036"/>
          <ac:grpSpMkLst>
            <pc:docMk/>
            <pc:sldMk cId="2855128201" sldId="2291"/>
            <ac:grpSpMk id="10" creationId="{E7812699-B543-4FD0-9E92-35F900CF5605}"/>
          </ac:grpSpMkLst>
        </pc:grpChg>
        <pc:grpChg chg="mod">
          <ac:chgData name="Francisco Fermín Navarro Benítez" userId="f65314a5-c535-4988-a9f4-712415269b62" providerId="ADAL" clId="{61E089E2-7CDD-4973-97AF-C6168C5999CC}" dt="2022-04-20T04:17:23.279" v="301" actId="1036"/>
          <ac:grpSpMkLst>
            <pc:docMk/>
            <pc:sldMk cId="2855128201" sldId="2291"/>
            <ac:grpSpMk id="13" creationId="{3E031092-C1EC-47B6-8EE6-35177E5452B7}"/>
          </ac:grpSpMkLst>
        </pc:grpChg>
        <pc:grpChg chg="mod">
          <ac:chgData name="Francisco Fermín Navarro Benítez" userId="f65314a5-c535-4988-a9f4-712415269b62" providerId="ADAL" clId="{61E089E2-7CDD-4973-97AF-C6168C5999CC}" dt="2022-04-20T04:17:23.279" v="301" actId="1036"/>
          <ac:grpSpMkLst>
            <pc:docMk/>
            <pc:sldMk cId="2855128201" sldId="2291"/>
            <ac:grpSpMk id="16" creationId="{4CD0E8BB-7813-44D6-AC67-6AB60166817D}"/>
          </ac:grpSpMkLst>
        </pc:grpChg>
        <pc:grpChg chg="del mod">
          <ac:chgData name="Francisco Fermín Navarro Benítez" userId="f65314a5-c535-4988-a9f4-712415269b62" providerId="ADAL" clId="{61E089E2-7CDD-4973-97AF-C6168C5999CC}" dt="2022-04-20T04:21:01.592" v="347" actId="478"/>
          <ac:grpSpMkLst>
            <pc:docMk/>
            <pc:sldMk cId="2855128201" sldId="2291"/>
            <ac:grpSpMk id="28" creationId="{10EA1970-7367-4976-9068-1653B9C63785}"/>
          </ac:grpSpMkLst>
        </pc:grpChg>
        <pc:picChg chg="del topLvl">
          <ac:chgData name="Francisco Fermín Navarro Benítez" userId="f65314a5-c535-4988-a9f4-712415269b62" providerId="ADAL" clId="{61E089E2-7CDD-4973-97AF-C6168C5999CC}" dt="2022-04-20T04:21:06.005" v="348" actId="478"/>
          <ac:picMkLst>
            <pc:docMk/>
            <pc:sldMk cId="2855128201" sldId="2291"/>
            <ac:picMk id="30" creationId="{307AAC3A-1AE3-40B6-854D-5D65FB045951}"/>
          </ac:picMkLst>
        </pc:picChg>
        <pc:picChg chg="mod">
          <ac:chgData name="Francisco Fermín Navarro Benítez" userId="f65314a5-c535-4988-a9f4-712415269b62" providerId="ADAL" clId="{61E089E2-7CDD-4973-97AF-C6168C5999CC}" dt="2022-04-20T04:17:23.279" v="301" actId="1036"/>
          <ac:picMkLst>
            <pc:docMk/>
            <pc:sldMk cId="2855128201" sldId="2291"/>
            <ac:picMk id="32" creationId="{9796180A-F4F4-457D-B66F-B747F4EC6953}"/>
          </ac:picMkLst>
        </pc:picChg>
        <pc:cxnChg chg="mod">
          <ac:chgData name="Francisco Fermín Navarro Benítez" userId="f65314a5-c535-4988-a9f4-712415269b62" providerId="ADAL" clId="{61E089E2-7CDD-4973-97AF-C6168C5999CC}" dt="2022-04-20T04:17:23.279" v="301" actId="1036"/>
          <ac:cxnSpMkLst>
            <pc:docMk/>
            <pc:sldMk cId="2855128201" sldId="2291"/>
            <ac:cxnSpMk id="5" creationId="{3695E777-7843-4BC7-9137-EE952994C4E4}"/>
          </ac:cxnSpMkLst>
        </pc:cxnChg>
        <pc:cxnChg chg="mod">
          <ac:chgData name="Francisco Fermín Navarro Benítez" userId="f65314a5-c535-4988-a9f4-712415269b62" providerId="ADAL" clId="{61E089E2-7CDD-4973-97AF-C6168C5999CC}" dt="2022-04-20T04:17:23.279" v="301" actId="1036"/>
          <ac:cxnSpMkLst>
            <pc:docMk/>
            <pc:sldMk cId="2855128201" sldId="2291"/>
            <ac:cxnSpMk id="6" creationId="{2391A2D6-9960-4341-8546-0B79CED4D25C}"/>
          </ac:cxnSpMkLst>
        </pc:cxnChg>
      </pc:sldChg>
      <pc:sldChg chg="delSp del mod">
        <pc:chgData name="Francisco Fermín Navarro Benítez" userId="f65314a5-c535-4988-a9f4-712415269b62" providerId="ADAL" clId="{61E089E2-7CDD-4973-97AF-C6168C5999CC}" dt="2022-04-20T04:10:05.565" v="214" actId="2696"/>
        <pc:sldMkLst>
          <pc:docMk/>
          <pc:sldMk cId="3418398308" sldId="2432"/>
        </pc:sldMkLst>
        <pc:spChg chg="del">
          <ac:chgData name="Francisco Fermín Navarro Benítez" userId="f65314a5-c535-4988-a9f4-712415269b62" providerId="ADAL" clId="{61E089E2-7CDD-4973-97AF-C6168C5999CC}" dt="2022-04-20T04:02:48.463" v="201" actId="478"/>
          <ac:spMkLst>
            <pc:docMk/>
            <pc:sldMk cId="3418398308" sldId="2432"/>
            <ac:spMk id="358" creationId="{8A3900EF-A565-435E-B5D8-F431007C29E8}"/>
          </ac:spMkLst>
        </pc:spChg>
      </pc:sldChg>
      <pc:sldChg chg="delSp mod">
        <pc:chgData name="Francisco Fermín Navarro Benítez" userId="f65314a5-c535-4988-a9f4-712415269b62" providerId="ADAL" clId="{61E089E2-7CDD-4973-97AF-C6168C5999CC}" dt="2022-04-20T03:53:41.176" v="169" actId="478"/>
        <pc:sldMkLst>
          <pc:docMk/>
          <pc:sldMk cId="4273202954" sldId="2505"/>
        </pc:sldMkLst>
        <pc:spChg chg="del">
          <ac:chgData name="Francisco Fermín Navarro Benítez" userId="f65314a5-c535-4988-a9f4-712415269b62" providerId="ADAL" clId="{61E089E2-7CDD-4973-97AF-C6168C5999CC}" dt="2022-04-20T03:23:02.188" v="7" actId="478"/>
          <ac:spMkLst>
            <pc:docMk/>
            <pc:sldMk cId="4273202954" sldId="2505"/>
            <ac:spMk id="103" creationId="{74253E9B-B7C9-49F1-96CF-6D59D401C960}"/>
          </ac:spMkLst>
        </pc:spChg>
        <pc:spChg chg="del">
          <ac:chgData name="Francisco Fermín Navarro Benítez" userId="f65314a5-c535-4988-a9f4-712415269b62" providerId="ADAL" clId="{61E089E2-7CDD-4973-97AF-C6168C5999CC}" dt="2022-04-20T03:53:41.176" v="169" actId="478"/>
          <ac:spMkLst>
            <pc:docMk/>
            <pc:sldMk cId="4273202954" sldId="2505"/>
            <ac:spMk id="137" creationId="{01B4BEBB-4C8B-4033-B34E-904945E6AF76}"/>
          </ac:spMkLst>
        </pc:spChg>
      </pc:sldChg>
      <pc:sldChg chg="add del">
        <pc:chgData name="Francisco Fermín Navarro Benítez" userId="f65314a5-c535-4988-a9f4-712415269b62" providerId="ADAL" clId="{61E089E2-7CDD-4973-97AF-C6168C5999CC}" dt="2022-04-20T03:26:30.925" v="20" actId="2696"/>
        <pc:sldMkLst>
          <pc:docMk/>
          <pc:sldMk cId="2313980650" sldId="2508"/>
        </pc:sldMkLst>
      </pc:sldChg>
      <pc:sldChg chg="addSp delSp modSp add mod modClrScheme chgLayout">
        <pc:chgData name="Francisco Fermín Navarro Benítez" userId="f65314a5-c535-4988-a9f4-712415269b62" providerId="ADAL" clId="{61E089E2-7CDD-4973-97AF-C6168C5999CC}" dt="2022-04-20T03:46:09.362" v="70" actId="1036"/>
        <pc:sldMkLst>
          <pc:docMk/>
          <pc:sldMk cId="1443351144" sldId="2518"/>
        </pc:sldMkLst>
        <pc:spChg chg="mod ord">
          <ac:chgData name="Francisco Fermín Navarro Benítez" userId="f65314a5-c535-4988-a9f4-712415269b62" providerId="ADAL" clId="{61E089E2-7CDD-4973-97AF-C6168C5999CC}" dt="2022-04-20T03:43:42.422" v="46" actId="700"/>
          <ac:spMkLst>
            <pc:docMk/>
            <pc:sldMk cId="1443351144" sldId="2518"/>
            <ac:spMk id="5" creationId="{2AA60244-A7FC-4209-913C-930B7E816D6A}"/>
          </ac:spMkLst>
        </pc:spChg>
        <pc:spChg chg="add del mod ord">
          <ac:chgData name="Francisco Fermín Navarro Benítez" userId="f65314a5-c535-4988-a9f4-712415269b62" providerId="ADAL" clId="{61E089E2-7CDD-4973-97AF-C6168C5999CC}" dt="2022-04-20T03:43:21.945" v="40" actId="700"/>
          <ac:spMkLst>
            <pc:docMk/>
            <pc:sldMk cId="1443351144" sldId="2518"/>
            <ac:spMk id="6" creationId="{49BACD71-8CF0-4395-A1CF-276BDD217A85}"/>
          </ac:spMkLst>
        </pc:spChg>
        <pc:spChg chg="add del mod ord">
          <ac:chgData name="Francisco Fermín Navarro Benítez" userId="f65314a5-c535-4988-a9f4-712415269b62" providerId="ADAL" clId="{61E089E2-7CDD-4973-97AF-C6168C5999CC}" dt="2022-04-20T03:43:33.320" v="45" actId="26606"/>
          <ac:spMkLst>
            <pc:docMk/>
            <pc:sldMk cId="1443351144" sldId="2518"/>
            <ac:spMk id="7" creationId="{1A4922D3-C0A1-4658-B1DA-7742A421B823}"/>
          </ac:spMkLst>
        </pc:spChg>
        <pc:spChg chg="add del mod ord">
          <ac:chgData name="Francisco Fermín Navarro Benítez" userId="f65314a5-c535-4988-a9f4-712415269b62" providerId="ADAL" clId="{61E089E2-7CDD-4973-97AF-C6168C5999CC}" dt="2022-04-20T03:44:02.631" v="49" actId="478"/>
          <ac:spMkLst>
            <pc:docMk/>
            <pc:sldMk cId="1443351144" sldId="2518"/>
            <ac:spMk id="8" creationId="{E1049E62-3EBC-4781-B30C-7ED648C77933}"/>
          </ac:spMkLst>
        </pc:spChg>
        <pc:spChg chg="add del mod ord">
          <ac:chgData name="Francisco Fermín Navarro Benítez" userId="f65314a5-c535-4988-a9f4-712415269b62" providerId="ADAL" clId="{61E089E2-7CDD-4973-97AF-C6168C5999CC}" dt="2022-04-20T03:43:42.422" v="46" actId="700"/>
          <ac:spMkLst>
            <pc:docMk/>
            <pc:sldMk cId="1443351144" sldId="2518"/>
            <ac:spMk id="10" creationId="{A4BDDB99-EDF3-5127-423D-7951C4BE7691}"/>
          </ac:spMkLst>
        </pc:spChg>
        <pc:spChg chg="del">
          <ac:chgData name="Francisco Fermín Navarro Benítez" userId="f65314a5-c535-4988-a9f4-712415269b62" providerId="ADAL" clId="{61E089E2-7CDD-4973-97AF-C6168C5999CC}" dt="2022-04-20T03:43:10.964" v="37" actId="478"/>
          <ac:spMkLst>
            <pc:docMk/>
            <pc:sldMk cId="1443351144" sldId="2518"/>
            <ac:spMk id="11" creationId="{30FD3B92-F623-4C0B-9E9D-A4FA45E91E18}"/>
          </ac:spMkLst>
        </pc:spChg>
        <pc:spChg chg="add del mod">
          <ac:chgData name="Francisco Fermín Navarro Benítez" userId="f65314a5-c535-4988-a9f4-712415269b62" providerId="ADAL" clId="{61E089E2-7CDD-4973-97AF-C6168C5999CC}" dt="2022-04-20T03:43:31.660" v="42" actId="26606"/>
          <ac:spMkLst>
            <pc:docMk/>
            <pc:sldMk cId="1443351144" sldId="2518"/>
            <ac:spMk id="12" creationId="{A4BDDB99-EDF3-5127-423D-7951C4BE7691}"/>
          </ac:spMkLst>
        </pc:spChg>
        <pc:spChg chg="add del mod ord">
          <ac:chgData name="Francisco Fermín Navarro Benítez" userId="f65314a5-c535-4988-a9f4-712415269b62" providerId="ADAL" clId="{61E089E2-7CDD-4973-97AF-C6168C5999CC}" dt="2022-04-20T03:43:51.904" v="47" actId="478"/>
          <ac:spMkLst>
            <pc:docMk/>
            <pc:sldMk cId="1443351144" sldId="2518"/>
            <ac:spMk id="13" creationId="{D54A6DD1-2538-4E57-8E26-C1BA4CE8C538}"/>
          </ac:spMkLst>
        </pc:spChg>
        <pc:spChg chg="add del mod ord">
          <ac:chgData name="Francisco Fermín Navarro Benítez" userId="f65314a5-c535-4988-a9f4-712415269b62" providerId="ADAL" clId="{61E089E2-7CDD-4973-97AF-C6168C5999CC}" dt="2022-04-20T03:43:57.805" v="48" actId="478"/>
          <ac:spMkLst>
            <pc:docMk/>
            <pc:sldMk cId="1443351144" sldId="2518"/>
            <ac:spMk id="14" creationId="{0FAD9F3C-0379-4918-B5CF-AEC7BBB52FBC}"/>
          </ac:spMkLst>
        </pc:spChg>
        <pc:spChg chg="add mod">
          <ac:chgData name="Francisco Fermín Navarro Benítez" userId="f65314a5-c535-4988-a9f4-712415269b62" providerId="ADAL" clId="{61E089E2-7CDD-4973-97AF-C6168C5999CC}" dt="2022-04-20T03:46:09.362" v="70" actId="1036"/>
          <ac:spMkLst>
            <pc:docMk/>
            <pc:sldMk cId="1443351144" sldId="2518"/>
            <ac:spMk id="15" creationId="{1C585A71-852B-4B69-B56B-1E9EBE859C9C}"/>
          </ac:spMkLst>
        </pc:spChg>
        <pc:picChg chg="add mod">
          <ac:chgData name="Francisco Fermín Navarro Benítez" userId="f65314a5-c535-4988-a9f4-712415269b62" providerId="ADAL" clId="{61E089E2-7CDD-4973-97AF-C6168C5999CC}" dt="2022-04-20T03:44:41.909" v="53" actId="1076"/>
          <ac:picMkLst>
            <pc:docMk/>
            <pc:sldMk cId="1443351144" sldId="2518"/>
            <ac:picMk id="3" creationId="{87FFC7BE-0DD7-4ADF-9423-C8C0F030B3FE}"/>
          </ac:picMkLst>
        </pc:picChg>
        <pc:picChg chg="del">
          <ac:chgData name="Francisco Fermín Navarro Benítez" userId="f65314a5-c535-4988-a9f4-712415269b62" providerId="ADAL" clId="{61E089E2-7CDD-4973-97AF-C6168C5999CC}" dt="2022-04-20T03:43:00.317" v="34" actId="478"/>
          <ac:picMkLst>
            <pc:docMk/>
            <pc:sldMk cId="1443351144" sldId="2518"/>
            <ac:picMk id="9" creationId="{CD7F2ED2-C641-449C-9443-6230878ABEE4}"/>
          </ac:picMkLst>
        </pc:picChg>
      </pc:sldChg>
      <pc:sldChg chg="del">
        <pc:chgData name="Francisco Fermín Navarro Benítez" userId="f65314a5-c535-4988-a9f4-712415269b62" providerId="ADAL" clId="{61E089E2-7CDD-4973-97AF-C6168C5999CC}" dt="2022-04-20T04:09:55.067" v="213" actId="2696"/>
        <pc:sldMkLst>
          <pc:docMk/>
          <pc:sldMk cId="4047048158" sldId="2537"/>
        </pc:sldMkLst>
      </pc:sldChg>
      <pc:sldChg chg="del">
        <pc:chgData name="Francisco Fermín Navarro Benítez" userId="f65314a5-c535-4988-a9f4-712415269b62" providerId="ADAL" clId="{61E089E2-7CDD-4973-97AF-C6168C5999CC}" dt="2022-04-20T03:16:58.493" v="4" actId="2696"/>
        <pc:sldMkLst>
          <pc:docMk/>
          <pc:sldMk cId="304916309" sldId="2540"/>
        </pc:sldMkLst>
      </pc:sldChg>
      <pc:sldChg chg="del">
        <pc:chgData name="Francisco Fermín Navarro Benítez" userId="f65314a5-c535-4988-a9f4-712415269b62" providerId="ADAL" clId="{61E089E2-7CDD-4973-97AF-C6168C5999CC}" dt="2022-04-20T03:16:30.831" v="1" actId="2696"/>
        <pc:sldMkLst>
          <pc:docMk/>
          <pc:sldMk cId="8172857" sldId="2545"/>
        </pc:sldMkLst>
      </pc:sldChg>
      <pc:sldChg chg="add del ord">
        <pc:chgData name="Francisco Fermín Navarro Benítez" userId="f65314a5-c535-4988-a9f4-712415269b62" providerId="ADAL" clId="{61E089E2-7CDD-4973-97AF-C6168C5999CC}" dt="2022-04-20T03:52:54.694" v="167" actId="2696"/>
        <pc:sldMkLst>
          <pc:docMk/>
          <pc:sldMk cId="176199677" sldId="2545"/>
        </pc:sldMkLst>
      </pc:sldChg>
      <pc:sldChg chg="del">
        <pc:chgData name="Francisco Fermín Navarro Benítez" userId="f65314a5-c535-4988-a9f4-712415269b62" providerId="ADAL" clId="{61E089E2-7CDD-4973-97AF-C6168C5999CC}" dt="2022-04-20T04:09:29.075" v="212" actId="47"/>
        <pc:sldMkLst>
          <pc:docMk/>
          <pc:sldMk cId="3572151029" sldId="2546"/>
        </pc:sldMkLst>
      </pc:sldChg>
      <pc:sldChg chg="del">
        <pc:chgData name="Francisco Fermín Navarro Benítez" userId="f65314a5-c535-4988-a9f4-712415269b62" providerId="ADAL" clId="{61E089E2-7CDD-4973-97AF-C6168C5999CC}" dt="2022-04-20T03:16:30.831" v="1" actId="2696"/>
        <pc:sldMkLst>
          <pc:docMk/>
          <pc:sldMk cId="217851244" sldId="2549"/>
        </pc:sldMkLst>
      </pc:sldChg>
      <pc:sldChg chg="del">
        <pc:chgData name="Francisco Fermín Navarro Benítez" userId="f65314a5-c535-4988-a9f4-712415269b62" providerId="ADAL" clId="{61E089E2-7CDD-4973-97AF-C6168C5999CC}" dt="2022-04-20T03:16:30.831" v="1" actId="2696"/>
        <pc:sldMkLst>
          <pc:docMk/>
          <pc:sldMk cId="1148344700" sldId="2550"/>
        </pc:sldMkLst>
      </pc:sldChg>
      <pc:sldChg chg="del">
        <pc:chgData name="Francisco Fermín Navarro Benítez" userId="f65314a5-c535-4988-a9f4-712415269b62" providerId="ADAL" clId="{61E089E2-7CDD-4973-97AF-C6168C5999CC}" dt="2022-04-20T03:16:30.831" v="1" actId="2696"/>
        <pc:sldMkLst>
          <pc:docMk/>
          <pc:sldMk cId="2060196215" sldId="2551"/>
        </pc:sldMkLst>
      </pc:sldChg>
      <pc:sldChg chg="del">
        <pc:chgData name="Francisco Fermín Navarro Benítez" userId="f65314a5-c535-4988-a9f4-712415269b62" providerId="ADAL" clId="{61E089E2-7CDD-4973-97AF-C6168C5999CC}" dt="2022-04-20T03:16:30.831" v="1" actId="2696"/>
        <pc:sldMkLst>
          <pc:docMk/>
          <pc:sldMk cId="2234267085" sldId="2552"/>
        </pc:sldMkLst>
      </pc:sldChg>
      <pc:sldChg chg="del">
        <pc:chgData name="Francisco Fermín Navarro Benítez" userId="f65314a5-c535-4988-a9f4-712415269b62" providerId="ADAL" clId="{61E089E2-7CDD-4973-97AF-C6168C5999CC}" dt="2022-04-20T03:16:30.831" v="1" actId="2696"/>
        <pc:sldMkLst>
          <pc:docMk/>
          <pc:sldMk cId="2978074597" sldId="2556"/>
        </pc:sldMkLst>
      </pc:sldChg>
      <pc:sldChg chg="add del">
        <pc:chgData name="Francisco Fermín Navarro Benítez" userId="f65314a5-c535-4988-a9f4-712415269b62" providerId="ADAL" clId="{61E089E2-7CDD-4973-97AF-C6168C5999CC}" dt="2022-04-20T03:45:53.598" v="56" actId="47"/>
        <pc:sldMkLst>
          <pc:docMk/>
          <pc:sldMk cId="3927078303" sldId="2557"/>
        </pc:sldMkLst>
      </pc:sldChg>
      <pc:sldChg chg="del">
        <pc:chgData name="Francisco Fermín Navarro Benítez" userId="f65314a5-c535-4988-a9f4-712415269b62" providerId="ADAL" clId="{61E089E2-7CDD-4973-97AF-C6168C5999CC}" dt="2022-04-20T03:16:58.493" v="4" actId="2696"/>
        <pc:sldMkLst>
          <pc:docMk/>
          <pc:sldMk cId="2839322765" sldId="2567"/>
        </pc:sldMkLst>
      </pc:sldChg>
      <pc:sldChg chg="del">
        <pc:chgData name="Francisco Fermín Navarro Benítez" userId="f65314a5-c535-4988-a9f4-712415269b62" providerId="ADAL" clId="{61E089E2-7CDD-4973-97AF-C6168C5999CC}" dt="2022-04-20T03:16:58.493" v="4" actId="2696"/>
        <pc:sldMkLst>
          <pc:docMk/>
          <pc:sldMk cId="556487067" sldId="2568"/>
        </pc:sldMkLst>
      </pc:sldChg>
      <pc:sldChg chg="del">
        <pc:chgData name="Francisco Fermín Navarro Benítez" userId="f65314a5-c535-4988-a9f4-712415269b62" providerId="ADAL" clId="{61E089E2-7CDD-4973-97AF-C6168C5999CC}" dt="2022-04-20T03:16:58.493" v="4" actId="2696"/>
        <pc:sldMkLst>
          <pc:docMk/>
          <pc:sldMk cId="2202623599" sldId="2569"/>
        </pc:sldMkLst>
      </pc:sldChg>
      <pc:sldChg chg="del">
        <pc:chgData name="Francisco Fermín Navarro Benítez" userId="f65314a5-c535-4988-a9f4-712415269b62" providerId="ADAL" clId="{61E089E2-7CDD-4973-97AF-C6168C5999CC}" dt="2022-04-20T03:16:58.493" v="4" actId="2696"/>
        <pc:sldMkLst>
          <pc:docMk/>
          <pc:sldMk cId="325025547" sldId="2570"/>
        </pc:sldMkLst>
      </pc:sldChg>
      <pc:sldChg chg="del">
        <pc:chgData name="Francisco Fermín Navarro Benítez" userId="f65314a5-c535-4988-a9f4-712415269b62" providerId="ADAL" clId="{61E089E2-7CDD-4973-97AF-C6168C5999CC}" dt="2022-04-20T03:16:58.493" v="4" actId="2696"/>
        <pc:sldMkLst>
          <pc:docMk/>
          <pc:sldMk cId="1851764591" sldId="2571"/>
        </pc:sldMkLst>
      </pc:sldChg>
      <pc:sldChg chg="add del">
        <pc:chgData name="Francisco Fermín Navarro Benítez" userId="f65314a5-c535-4988-a9f4-712415269b62" providerId="ADAL" clId="{61E089E2-7CDD-4973-97AF-C6168C5999CC}" dt="2022-04-20T03:41:21.587" v="31" actId="2696"/>
        <pc:sldMkLst>
          <pc:docMk/>
          <pc:sldMk cId="1268651633" sldId="2572"/>
        </pc:sldMkLst>
      </pc:sldChg>
      <pc:sldChg chg="delSp mod ord">
        <pc:chgData name="Francisco Fermín Navarro Benítez" userId="f65314a5-c535-4988-a9f4-712415269b62" providerId="ADAL" clId="{61E089E2-7CDD-4973-97AF-C6168C5999CC}" dt="2022-04-20T04:13:07.503" v="267" actId="478"/>
        <pc:sldMkLst>
          <pc:docMk/>
          <pc:sldMk cId="503179127" sldId="2578"/>
        </pc:sldMkLst>
        <pc:spChg chg="del">
          <ac:chgData name="Francisco Fermín Navarro Benítez" userId="f65314a5-c535-4988-a9f4-712415269b62" providerId="ADAL" clId="{61E089E2-7CDD-4973-97AF-C6168C5999CC}" dt="2022-04-20T04:13:07.503" v="267" actId="478"/>
          <ac:spMkLst>
            <pc:docMk/>
            <pc:sldMk cId="503179127" sldId="2578"/>
            <ac:spMk id="257" creationId="{B2ACF0F0-E389-458B-A83F-DD8AAD4566FF}"/>
          </ac:spMkLst>
        </pc:spChg>
      </pc:sldChg>
      <pc:sldChg chg="del">
        <pc:chgData name="Francisco Fermín Navarro Benítez" userId="f65314a5-c535-4988-a9f4-712415269b62" providerId="ADAL" clId="{61E089E2-7CDD-4973-97AF-C6168C5999CC}" dt="2022-04-20T03:51:13.294" v="154" actId="2696"/>
        <pc:sldMkLst>
          <pc:docMk/>
          <pc:sldMk cId="1312835527" sldId="2579"/>
        </pc:sldMkLst>
      </pc:sldChg>
      <pc:sldChg chg="add del">
        <pc:chgData name="Francisco Fermín Navarro Benítez" userId="f65314a5-c535-4988-a9f4-712415269b62" providerId="ADAL" clId="{61E089E2-7CDD-4973-97AF-C6168C5999CC}" dt="2022-04-20T03:41:37.169" v="32" actId="2696"/>
        <pc:sldMkLst>
          <pc:docMk/>
          <pc:sldMk cId="1207613331" sldId="2594"/>
        </pc:sldMkLst>
      </pc:sldChg>
      <pc:sldChg chg="add del">
        <pc:chgData name="Francisco Fermín Navarro Benítez" userId="f65314a5-c535-4988-a9f4-712415269b62" providerId="ADAL" clId="{61E089E2-7CDD-4973-97AF-C6168C5999CC}" dt="2022-04-20T04:09:22.521" v="211"/>
        <pc:sldMkLst>
          <pc:docMk/>
          <pc:sldMk cId="1665117181" sldId="2680"/>
        </pc:sldMkLst>
      </pc:sldChg>
      <pc:sldChg chg="modSp add mod ord">
        <pc:chgData name="Francisco Fermín Navarro Benítez" userId="f65314a5-c535-4988-a9f4-712415269b62" providerId="ADAL" clId="{61E089E2-7CDD-4973-97AF-C6168C5999CC}" dt="2022-04-20T04:06:08.826" v="210" actId="14100"/>
        <pc:sldMkLst>
          <pc:docMk/>
          <pc:sldMk cId="1970539429" sldId="2684"/>
        </pc:sldMkLst>
        <pc:spChg chg="mod">
          <ac:chgData name="Francisco Fermín Navarro Benítez" userId="f65314a5-c535-4988-a9f4-712415269b62" providerId="ADAL" clId="{61E089E2-7CDD-4973-97AF-C6168C5999CC}" dt="2022-04-20T03:49:59.800" v="134" actId="20577"/>
          <ac:spMkLst>
            <pc:docMk/>
            <pc:sldMk cId="1970539429" sldId="2684"/>
            <ac:spMk id="9" creationId="{F299C2C1-FB88-4030-ADD2-45456D143E3F}"/>
          </ac:spMkLst>
        </pc:spChg>
        <pc:spChg chg="mod">
          <ac:chgData name="Francisco Fermín Navarro Benítez" userId="f65314a5-c535-4988-a9f4-712415269b62" providerId="ADAL" clId="{61E089E2-7CDD-4973-97AF-C6168C5999CC}" dt="2022-04-20T03:49:42.758" v="126" actId="1076"/>
          <ac:spMkLst>
            <pc:docMk/>
            <pc:sldMk cId="1970539429" sldId="2684"/>
            <ac:spMk id="12" creationId="{A4EBB555-5A1D-4003-90BA-D397794EFC5D}"/>
          </ac:spMkLst>
        </pc:spChg>
        <pc:spChg chg="mod">
          <ac:chgData name="Francisco Fermín Navarro Benítez" userId="f65314a5-c535-4988-a9f4-712415269b62" providerId="ADAL" clId="{61E089E2-7CDD-4973-97AF-C6168C5999CC}" dt="2022-04-20T04:06:08.826" v="210" actId="14100"/>
          <ac:spMkLst>
            <pc:docMk/>
            <pc:sldMk cId="1970539429" sldId="2684"/>
            <ac:spMk id="13" creationId="{DAE77477-3C2A-409A-AD74-33156DBD7261}"/>
          </ac:spMkLst>
        </pc:spChg>
      </pc:sldChg>
      <pc:sldChg chg="delSp modSp add mod">
        <pc:chgData name="Francisco Fermín Navarro Benítez" userId="f65314a5-c535-4988-a9f4-712415269b62" providerId="ADAL" clId="{61E089E2-7CDD-4973-97AF-C6168C5999CC}" dt="2022-04-20T04:00:47.839" v="200" actId="20577"/>
        <pc:sldMkLst>
          <pc:docMk/>
          <pc:sldMk cId="2413423342" sldId="2685"/>
        </pc:sldMkLst>
        <pc:spChg chg="del">
          <ac:chgData name="Francisco Fermín Navarro Benítez" userId="f65314a5-c535-4988-a9f4-712415269b62" providerId="ADAL" clId="{61E089E2-7CDD-4973-97AF-C6168C5999CC}" dt="2022-04-20T03:41:08.427" v="30" actId="478"/>
          <ac:spMkLst>
            <pc:docMk/>
            <pc:sldMk cId="2413423342" sldId="2685"/>
            <ac:spMk id="44" creationId="{92843DBF-83AE-4D98-B79D-BC4522A1A7B0}"/>
          </ac:spMkLst>
        </pc:spChg>
        <pc:spChg chg="mod">
          <ac:chgData name="Francisco Fermín Navarro Benítez" userId="f65314a5-c535-4988-a9f4-712415269b62" providerId="ADAL" clId="{61E089E2-7CDD-4973-97AF-C6168C5999CC}" dt="2022-04-20T03:47:40.877" v="108" actId="1076"/>
          <ac:spMkLst>
            <pc:docMk/>
            <pc:sldMk cId="2413423342" sldId="2685"/>
            <ac:spMk id="96" creationId="{0ACF6B6C-4241-43BD-AC24-539594ED2643}"/>
          </ac:spMkLst>
        </pc:spChg>
        <pc:spChg chg="mod">
          <ac:chgData name="Francisco Fermín Navarro Benítez" userId="f65314a5-c535-4988-a9f4-712415269b62" providerId="ADAL" clId="{61E089E2-7CDD-4973-97AF-C6168C5999CC}" dt="2022-04-20T04:00:05.524" v="172" actId="20577"/>
          <ac:spMkLst>
            <pc:docMk/>
            <pc:sldMk cId="2413423342" sldId="2685"/>
            <ac:spMk id="115" creationId="{96A33445-0565-41C0-AE7C-F05DC918AFAC}"/>
          </ac:spMkLst>
        </pc:spChg>
        <pc:spChg chg="mod">
          <ac:chgData name="Francisco Fermín Navarro Benítez" userId="f65314a5-c535-4988-a9f4-712415269b62" providerId="ADAL" clId="{61E089E2-7CDD-4973-97AF-C6168C5999CC}" dt="2022-04-20T03:59:57.531" v="171" actId="6549"/>
          <ac:spMkLst>
            <pc:docMk/>
            <pc:sldMk cId="2413423342" sldId="2685"/>
            <ac:spMk id="116" creationId="{82E01582-4EC4-420C-805A-1682FAEB8B94}"/>
          </ac:spMkLst>
        </pc:spChg>
        <pc:spChg chg="mod">
          <ac:chgData name="Francisco Fermín Navarro Benítez" userId="f65314a5-c535-4988-a9f4-712415269b62" providerId="ADAL" clId="{61E089E2-7CDD-4973-97AF-C6168C5999CC}" dt="2022-04-20T04:00:26.344" v="186" actId="6549"/>
          <ac:spMkLst>
            <pc:docMk/>
            <pc:sldMk cId="2413423342" sldId="2685"/>
            <ac:spMk id="117" creationId="{4FA3FBF3-FD96-4D4B-9A5F-6294467A7041}"/>
          </ac:spMkLst>
        </pc:spChg>
        <pc:spChg chg="mod">
          <ac:chgData name="Francisco Fermín Navarro Benítez" userId="f65314a5-c535-4988-a9f4-712415269b62" providerId="ADAL" clId="{61E089E2-7CDD-4973-97AF-C6168C5999CC}" dt="2022-04-20T04:00:47.839" v="200" actId="20577"/>
          <ac:spMkLst>
            <pc:docMk/>
            <pc:sldMk cId="2413423342" sldId="2685"/>
            <ac:spMk id="118" creationId="{D5446280-930C-41FC-8FC6-CBD853E23E09}"/>
          </ac:spMkLst>
        </pc:spChg>
        <pc:spChg chg="mod">
          <ac:chgData name="Francisco Fermín Navarro Benítez" userId="f65314a5-c535-4988-a9f4-712415269b62" providerId="ADAL" clId="{61E089E2-7CDD-4973-97AF-C6168C5999CC}" dt="2022-04-20T03:48:24.337" v="113" actId="20577"/>
          <ac:spMkLst>
            <pc:docMk/>
            <pc:sldMk cId="2413423342" sldId="2685"/>
            <ac:spMk id="128" creationId="{F8DDC336-AA64-4342-AD8B-896A4FF8DD0F}"/>
          </ac:spMkLst>
        </pc:spChg>
      </pc:sldChg>
      <pc:sldChg chg="delSp modSp add mod ord">
        <pc:chgData name="Francisco Fermín Navarro Benítez" userId="f65314a5-c535-4988-a9f4-712415269b62" providerId="ADAL" clId="{61E089E2-7CDD-4973-97AF-C6168C5999CC}" dt="2022-04-20T04:30:11.593" v="462" actId="478"/>
        <pc:sldMkLst>
          <pc:docMk/>
          <pc:sldMk cId="1788587325" sldId="2686"/>
        </pc:sldMkLst>
        <pc:spChg chg="del">
          <ac:chgData name="Francisco Fermín Navarro Benítez" userId="f65314a5-c535-4988-a9f4-712415269b62" providerId="ADAL" clId="{61E089E2-7CDD-4973-97AF-C6168C5999CC}" dt="2022-04-20T04:27:52.472" v="455" actId="478"/>
          <ac:spMkLst>
            <pc:docMk/>
            <pc:sldMk cId="1788587325" sldId="2686"/>
            <ac:spMk id="113" creationId="{319E0509-413B-4F1C-8007-C39E76DD5352}"/>
          </ac:spMkLst>
        </pc:spChg>
        <pc:spChg chg="mod">
          <ac:chgData name="Francisco Fermín Navarro Benítez" userId="f65314a5-c535-4988-a9f4-712415269b62" providerId="ADAL" clId="{61E089E2-7CDD-4973-97AF-C6168C5999CC}" dt="2022-04-20T04:11:20.699" v="262" actId="20577"/>
          <ac:spMkLst>
            <pc:docMk/>
            <pc:sldMk cId="1788587325" sldId="2686"/>
            <ac:spMk id="181" creationId="{B2D24058-8A44-462D-9C6C-E76A9F08886E}"/>
          </ac:spMkLst>
        </pc:spChg>
        <pc:spChg chg="del">
          <ac:chgData name="Francisco Fermín Navarro Benítez" userId="f65314a5-c535-4988-a9f4-712415269b62" providerId="ADAL" clId="{61E089E2-7CDD-4973-97AF-C6168C5999CC}" dt="2022-04-20T04:30:08.217" v="461" actId="478"/>
          <ac:spMkLst>
            <pc:docMk/>
            <pc:sldMk cId="1788587325" sldId="2686"/>
            <ac:spMk id="182" creationId="{46FCF22D-13DA-42E9-9C60-63262C769474}"/>
          </ac:spMkLst>
        </pc:spChg>
        <pc:spChg chg="mod">
          <ac:chgData name="Francisco Fermín Navarro Benítez" userId="f65314a5-c535-4988-a9f4-712415269b62" providerId="ADAL" clId="{61E089E2-7CDD-4973-97AF-C6168C5999CC}" dt="2022-04-20T04:29:50.984" v="460" actId="6549"/>
          <ac:spMkLst>
            <pc:docMk/>
            <pc:sldMk cId="1788587325" sldId="2686"/>
            <ac:spMk id="264" creationId="{01799A16-23DD-4940-989D-20BEC9CB543C}"/>
          </ac:spMkLst>
        </pc:spChg>
        <pc:grpChg chg="del">
          <ac:chgData name="Francisco Fermín Navarro Benítez" userId="f65314a5-c535-4988-a9f4-712415269b62" providerId="ADAL" clId="{61E089E2-7CDD-4973-97AF-C6168C5999CC}" dt="2022-04-20T04:30:11.593" v="462" actId="478"/>
          <ac:grpSpMkLst>
            <pc:docMk/>
            <pc:sldMk cId="1788587325" sldId="2686"/>
            <ac:grpSpMk id="226" creationId="{26B2FC15-70BC-4C46-9C91-E9D05D553F22}"/>
          </ac:grpSpMkLst>
        </pc:grpChg>
      </pc:sldChg>
      <pc:sldChg chg="addSp modSp mod modClrScheme chgLayout">
        <pc:chgData name="Francisco Fermín Navarro Benítez" userId="f65314a5-c535-4988-a9f4-712415269b62" providerId="ADAL" clId="{61E089E2-7CDD-4973-97AF-C6168C5999CC}" dt="2022-04-20T03:27:16.852" v="29" actId="208"/>
        <pc:sldMkLst>
          <pc:docMk/>
          <pc:sldMk cId="4261197875" sldId="2694"/>
        </pc:sldMkLst>
        <pc:spChg chg="add mod">
          <ac:chgData name="Francisco Fermín Navarro Benítez" userId="f65314a5-c535-4988-a9f4-712415269b62" providerId="ADAL" clId="{61E089E2-7CDD-4973-97AF-C6168C5999CC}" dt="2022-04-20T03:27:16.852" v="29" actId="208"/>
          <ac:spMkLst>
            <pc:docMk/>
            <pc:sldMk cId="4261197875" sldId="2694"/>
            <ac:spMk id="2" creationId="{9B79A67C-32D4-448C-9862-34A417CBBB5D}"/>
          </ac:spMkLst>
        </pc:spChg>
        <pc:spChg chg="mod ord">
          <ac:chgData name="Francisco Fermín Navarro Benítez" userId="f65314a5-c535-4988-a9f4-712415269b62" providerId="ADAL" clId="{61E089E2-7CDD-4973-97AF-C6168C5999CC}" dt="2022-04-20T03:27:03.386" v="26" actId="700"/>
          <ac:spMkLst>
            <pc:docMk/>
            <pc:sldMk cId="4261197875" sldId="2694"/>
            <ac:spMk id="5" creationId="{47A56F95-B232-43EF-8C5B-37AB6BFCDAA7}"/>
          </ac:spMkLst>
        </pc:spChg>
        <pc:spChg chg="mod ord">
          <ac:chgData name="Francisco Fermín Navarro Benítez" userId="f65314a5-c535-4988-a9f4-712415269b62" providerId="ADAL" clId="{61E089E2-7CDD-4973-97AF-C6168C5999CC}" dt="2022-04-20T03:27:03.386" v="26" actId="700"/>
          <ac:spMkLst>
            <pc:docMk/>
            <pc:sldMk cId="4261197875" sldId="2694"/>
            <ac:spMk id="6" creationId="{63B1E9FD-41C0-453E-B7B1-BEB2D2FD6C8F}"/>
          </ac:spMkLst>
        </pc:spChg>
        <pc:spChg chg="mod ord">
          <ac:chgData name="Francisco Fermín Navarro Benítez" userId="f65314a5-c535-4988-a9f4-712415269b62" providerId="ADAL" clId="{61E089E2-7CDD-4973-97AF-C6168C5999CC}" dt="2022-04-20T03:27:03.386" v="26" actId="700"/>
          <ac:spMkLst>
            <pc:docMk/>
            <pc:sldMk cId="4261197875" sldId="2694"/>
            <ac:spMk id="7" creationId="{224895E3-4C6F-4B58-8488-092C3F735336}"/>
          </ac:spMkLst>
        </pc:spChg>
        <pc:spChg chg="mod ord">
          <ac:chgData name="Francisco Fermín Navarro Benítez" userId="f65314a5-c535-4988-a9f4-712415269b62" providerId="ADAL" clId="{61E089E2-7CDD-4973-97AF-C6168C5999CC}" dt="2022-04-20T03:27:03.386" v="26" actId="700"/>
          <ac:spMkLst>
            <pc:docMk/>
            <pc:sldMk cId="4261197875" sldId="2694"/>
            <ac:spMk id="8" creationId="{D369191F-A459-4E53-AEBD-447878A7D588}"/>
          </ac:spMkLst>
        </pc:spChg>
        <pc:spChg chg="add mod">
          <ac:chgData name="Francisco Fermín Navarro Benítez" userId="f65314a5-c535-4988-a9f4-712415269b62" providerId="ADAL" clId="{61E089E2-7CDD-4973-97AF-C6168C5999CC}" dt="2022-04-20T03:25:13.328" v="13" actId="1076"/>
          <ac:spMkLst>
            <pc:docMk/>
            <pc:sldMk cId="4261197875" sldId="2694"/>
            <ac:spMk id="9" creationId="{9DFA988F-8270-49CA-A870-E190DE996D13}"/>
          </ac:spMkLst>
        </pc:spChg>
        <pc:spChg chg="mod">
          <ac:chgData name="Francisco Fermín Navarro Benítez" userId="f65314a5-c535-4988-a9f4-712415269b62" providerId="ADAL" clId="{61E089E2-7CDD-4973-97AF-C6168C5999CC}" dt="2022-04-20T03:24:37.036" v="10" actId="6549"/>
          <ac:spMkLst>
            <pc:docMk/>
            <pc:sldMk cId="4261197875" sldId="2694"/>
            <ac:spMk id="10" creationId="{0AA3A22E-D89B-4294-9E0E-C2E274D2AE43}"/>
          </ac:spMkLst>
        </pc:spChg>
      </pc:sldChg>
      <pc:sldChg chg="del">
        <pc:chgData name="Francisco Fermín Navarro Benítez" userId="f65314a5-c535-4988-a9f4-712415269b62" providerId="ADAL" clId="{61E089E2-7CDD-4973-97AF-C6168C5999CC}" dt="2022-04-20T04:13:16.802" v="268" actId="2696"/>
        <pc:sldMkLst>
          <pc:docMk/>
          <pc:sldMk cId="3546086793" sldId="2716"/>
        </pc:sldMkLst>
      </pc:sldChg>
      <pc:sldChg chg="del">
        <pc:chgData name="Francisco Fermín Navarro Benítez" userId="f65314a5-c535-4988-a9f4-712415269b62" providerId="ADAL" clId="{61E089E2-7CDD-4973-97AF-C6168C5999CC}" dt="2022-04-20T04:12:20.231" v="264" actId="2696"/>
        <pc:sldMkLst>
          <pc:docMk/>
          <pc:sldMk cId="3090227357" sldId="2717"/>
        </pc:sldMkLst>
      </pc:sldChg>
      <pc:sldChg chg="del">
        <pc:chgData name="Francisco Fermín Navarro Benítez" userId="f65314a5-c535-4988-a9f4-712415269b62" providerId="ADAL" clId="{61E089E2-7CDD-4973-97AF-C6168C5999CC}" dt="2022-04-20T03:53:04.403" v="168" actId="2696"/>
        <pc:sldMkLst>
          <pc:docMk/>
          <pc:sldMk cId="179675121" sldId="2718"/>
        </pc:sldMkLst>
      </pc:sldChg>
      <pc:sldChg chg="modSp del mod">
        <pc:chgData name="Francisco Fermín Navarro Benítez" userId="f65314a5-c535-4988-a9f4-712415269b62" providerId="ADAL" clId="{61E089E2-7CDD-4973-97AF-C6168C5999CC}" dt="2022-04-20T04:12:00.897" v="263" actId="2696"/>
        <pc:sldMkLst>
          <pc:docMk/>
          <pc:sldMk cId="2172660439" sldId="2719"/>
        </pc:sldMkLst>
        <pc:spChg chg="mod">
          <ac:chgData name="Francisco Fermín Navarro Benítez" userId="f65314a5-c535-4988-a9f4-712415269b62" providerId="ADAL" clId="{61E089E2-7CDD-4973-97AF-C6168C5999CC}" dt="2022-04-20T03:23:23.736" v="8" actId="6549"/>
          <ac:spMkLst>
            <pc:docMk/>
            <pc:sldMk cId="2172660439" sldId="2719"/>
            <ac:spMk id="312" creationId="{073857D7-D0A5-4031-BAA1-F6AFE0637229}"/>
          </ac:spMkLst>
        </pc:spChg>
      </pc:sldChg>
      <pc:sldChg chg="add ord">
        <pc:chgData name="Francisco Fermín Navarro Benítez" userId="f65314a5-c535-4988-a9f4-712415269b62" providerId="ADAL" clId="{61E089E2-7CDD-4973-97AF-C6168C5999CC}" dt="2022-04-20T03:16:38.382" v="3"/>
        <pc:sldMkLst>
          <pc:docMk/>
          <pc:sldMk cId="4067577707" sldId="2720"/>
        </pc:sldMkLst>
      </pc:sldChg>
      <pc:sldChg chg="new del">
        <pc:chgData name="Francisco Fermín Navarro Benítez" userId="f65314a5-c535-4988-a9f4-712415269b62" providerId="ADAL" clId="{61E089E2-7CDD-4973-97AF-C6168C5999CC}" dt="2022-04-20T04:16:17.072" v="271" actId="47"/>
        <pc:sldMkLst>
          <pc:docMk/>
          <pc:sldMk cId="910033337" sldId="2721"/>
        </pc:sldMkLst>
      </pc:sldChg>
      <pc:sldChg chg="add del">
        <pc:chgData name="Francisco Fermín Navarro Benítez" userId="f65314a5-c535-4988-a9f4-712415269b62" providerId="ADAL" clId="{61E089E2-7CDD-4973-97AF-C6168C5999CC}" dt="2022-04-20T03:22:04.342" v="6" actId="2696"/>
        <pc:sldMkLst>
          <pc:docMk/>
          <pc:sldMk cId="1402864097" sldId="2721"/>
        </pc:sldMkLst>
      </pc:sldChg>
      <pc:sldMasterChg chg="delSldLayout">
        <pc:chgData name="Francisco Fermín Navarro Benítez" userId="f65314a5-c535-4988-a9f4-712415269b62" providerId="ADAL" clId="{61E089E2-7CDD-4973-97AF-C6168C5999CC}" dt="2022-04-20T04:13:16.802" v="268" actId="2696"/>
        <pc:sldMasterMkLst>
          <pc:docMk/>
          <pc:sldMasterMk cId="2494037674" sldId="2147483735"/>
        </pc:sldMasterMkLst>
        <pc:sldLayoutChg chg="del">
          <pc:chgData name="Francisco Fermín Navarro Benítez" userId="f65314a5-c535-4988-a9f4-712415269b62" providerId="ADAL" clId="{61E089E2-7CDD-4973-97AF-C6168C5999CC}" dt="2022-04-20T04:13:16.802" v="268" actId="2696"/>
          <pc:sldLayoutMkLst>
            <pc:docMk/>
            <pc:sldMasterMk cId="2494037674" sldId="2147483735"/>
            <pc:sldLayoutMk cId="3863641163" sldId="2147483749"/>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sz="quarter" idx="1"/>
          </p:nvPr>
        </p:nvSpPr>
        <p:spPr>
          <a:xfrm>
            <a:off x="3815374" y="0"/>
            <a:ext cx="2918831" cy="493316"/>
          </a:xfrm>
          <a:prstGeom prst="rect">
            <a:avLst/>
          </a:prstGeom>
        </p:spPr>
        <p:txBody>
          <a:bodyPr vert="horz" lIns="91440" tIns="45720" rIns="91440" bIns="45720" rtlCol="0"/>
          <a:lstStyle>
            <a:lvl1pPr algn="r">
              <a:defRPr sz="1200"/>
            </a:lvl1pPr>
          </a:lstStyle>
          <a:p>
            <a:fld id="{9AAF7EB5-2971-424E-A29F-EDDE4D18392D}" type="datetimeFigureOut">
              <a:rPr lang="es-ES" smtClean="0"/>
              <a:pPr/>
              <a:t>21/04/2022</a:t>
            </a:fld>
            <a:endParaRPr lang="es-ES"/>
          </a:p>
        </p:txBody>
      </p:sp>
      <p:sp>
        <p:nvSpPr>
          <p:cNvPr id="4" name="3 Marcador de pie de página"/>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lang="es-ES"/>
          </a:p>
        </p:txBody>
      </p:sp>
      <p:sp>
        <p:nvSpPr>
          <p:cNvPr id="5" name="4 Marcador de número de diapositiva"/>
          <p:cNvSpPr>
            <a:spLocks noGrp="1"/>
          </p:cNvSpPr>
          <p:nvPr>
            <p:ph type="sldNum" sz="quarter" idx="3"/>
          </p:nvPr>
        </p:nvSpPr>
        <p:spPr>
          <a:xfrm>
            <a:off x="3815374" y="9371285"/>
            <a:ext cx="2918831" cy="493316"/>
          </a:xfrm>
          <a:prstGeom prst="rect">
            <a:avLst/>
          </a:prstGeom>
        </p:spPr>
        <p:txBody>
          <a:bodyPr vert="horz" lIns="91440" tIns="45720" rIns="91440" bIns="45720" rtlCol="0" anchor="b"/>
          <a:lstStyle>
            <a:lvl1pPr algn="r">
              <a:defRPr sz="1200"/>
            </a:lvl1pPr>
          </a:lstStyle>
          <a:p>
            <a:fld id="{126F353E-6852-4E82-86D3-C8985EC6AECD}" type="slidenum">
              <a:rPr lang="es-ES" smtClean="0"/>
              <a:pPr/>
              <a:t>‹Nº›</a:t>
            </a:fld>
            <a:endParaRPr lang="es-ES"/>
          </a:p>
        </p:txBody>
      </p:sp>
    </p:spTree>
    <p:extLst>
      <p:ext uri="{BB962C8B-B14F-4D97-AF65-F5344CB8AC3E}">
        <p14:creationId xmlns:p14="http://schemas.microsoft.com/office/powerpoint/2010/main" val="25195923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18136" cy="493789"/>
          </a:xfrm>
          <a:prstGeom prst="rect">
            <a:avLst/>
          </a:prstGeom>
        </p:spPr>
        <p:txBody>
          <a:bodyPr vert="horz" lIns="91440" tIns="45720" rIns="91440" bIns="45720" rtlCol="0"/>
          <a:lstStyle>
            <a:lvl1pPr algn="l">
              <a:defRPr sz="1200"/>
            </a:lvl1pPr>
          </a:lstStyle>
          <a:p>
            <a:endParaRPr lang="en-US"/>
          </a:p>
        </p:txBody>
      </p:sp>
      <p:sp>
        <p:nvSpPr>
          <p:cNvPr id="3" name="2 Marcador de fecha"/>
          <p:cNvSpPr>
            <a:spLocks noGrp="1"/>
          </p:cNvSpPr>
          <p:nvPr>
            <p:ph type="dt" idx="1"/>
          </p:nvPr>
        </p:nvSpPr>
        <p:spPr>
          <a:xfrm>
            <a:off x="3816023" y="0"/>
            <a:ext cx="2918136" cy="493789"/>
          </a:xfrm>
          <a:prstGeom prst="rect">
            <a:avLst/>
          </a:prstGeom>
        </p:spPr>
        <p:txBody>
          <a:bodyPr vert="horz" lIns="91440" tIns="45720" rIns="91440" bIns="45720" rtlCol="0"/>
          <a:lstStyle>
            <a:lvl1pPr algn="r">
              <a:defRPr sz="1200"/>
            </a:lvl1pPr>
          </a:lstStyle>
          <a:p>
            <a:fld id="{3BD91BC7-D3D6-4F53-88A4-79556D8EED24}" type="datetimeFigureOut">
              <a:rPr lang="en-US" smtClean="0"/>
              <a:pPr/>
              <a:t>4/21/2022</a:t>
            </a:fld>
            <a:endParaRPr lang="en-US"/>
          </a:p>
        </p:txBody>
      </p:sp>
      <p:sp>
        <p:nvSpPr>
          <p:cNvPr id="4" name="3 Marcador de imagen de diapositiva"/>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lIns="91440" tIns="45720" rIns="91440" bIns="45720" rtlCol="0" anchor="ctr"/>
          <a:lstStyle/>
          <a:p>
            <a:endParaRPr lang="en-US"/>
          </a:p>
        </p:txBody>
      </p:sp>
      <p:sp>
        <p:nvSpPr>
          <p:cNvPr id="5" name="4 Marcador de notas"/>
          <p:cNvSpPr>
            <a:spLocks noGrp="1"/>
          </p:cNvSpPr>
          <p:nvPr>
            <p:ph type="body" sz="quarter" idx="3"/>
          </p:nvPr>
        </p:nvSpPr>
        <p:spPr>
          <a:xfrm>
            <a:off x="673416" y="4687051"/>
            <a:ext cx="5388931" cy="4439368"/>
          </a:xfrm>
          <a:prstGeom prst="rect">
            <a:avLst/>
          </a:prstGeom>
        </p:spPr>
        <p:txBody>
          <a:bodyPr vert="horz" lIns="91440" tIns="45720" rIns="91440" bIns="45720"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6" name="5 Marcador de pie de página"/>
          <p:cNvSpPr>
            <a:spLocks noGrp="1"/>
          </p:cNvSpPr>
          <p:nvPr>
            <p:ph type="ftr" sz="quarter" idx="4"/>
          </p:nvPr>
        </p:nvSpPr>
        <p:spPr>
          <a:xfrm>
            <a:off x="0" y="9370947"/>
            <a:ext cx="2918136" cy="493789"/>
          </a:xfrm>
          <a:prstGeom prst="rect">
            <a:avLst/>
          </a:prstGeom>
        </p:spPr>
        <p:txBody>
          <a:bodyPr vert="horz" lIns="91440" tIns="45720" rIns="91440" bIns="45720" rtlCol="0" anchor="b"/>
          <a:lstStyle>
            <a:lvl1pPr algn="l">
              <a:defRPr sz="1200"/>
            </a:lvl1pPr>
          </a:lstStyle>
          <a:p>
            <a:endParaRPr lang="en-US"/>
          </a:p>
        </p:txBody>
      </p:sp>
      <p:sp>
        <p:nvSpPr>
          <p:cNvPr id="7" name="6 Marcador de número de diapositiva"/>
          <p:cNvSpPr>
            <a:spLocks noGrp="1"/>
          </p:cNvSpPr>
          <p:nvPr>
            <p:ph type="sldNum" sz="quarter" idx="5"/>
          </p:nvPr>
        </p:nvSpPr>
        <p:spPr>
          <a:xfrm>
            <a:off x="3816023" y="9370947"/>
            <a:ext cx="2918136" cy="493789"/>
          </a:xfrm>
          <a:prstGeom prst="rect">
            <a:avLst/>
          </a:prstGeom>
        </p:spPr>
        <p:txBody>
          <a:bodyPr vert="horz" lIns="91440" tIns="45720" rIns="91440" bIns="45720" rtlCol="0" anchor="b"/>
          <a:lstStyle>
            <a:lvl1pPr algn="r">
              <a:defRPr sz="1200"/>
            </a:lvl1pPr>
          </a:lstStyle>
          <a:p>
            <a:fld id="{49480A59-04CD-4DD9-ADD2-945F8BAF6CA2}" type="slidenum">
              <a:rPr lang="en-US" smtClean="0"/>
              <a:pPr/>
              <a:t>‹Nº›</a:t>
            </a:fld>
            <a:endParaRPr lang="en-US"/>
          </a:p>
        </p:txBody>
      </p:sp>
    </p:spTree>
    <p:extLst>
      <p:ext uri="{BB962C8B-B14F-4D97-AF65-F5344CB8AC3E}">
        <p14:creationId xmlns:p14="http://schemas.microsoft.com/office/powerpoint/2010/main" val="20846082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mjusticia.gob.es/cs/Satellite/Portal/1292429892467?blobheader=application%2Fpdf&amp;blobheadername1=Content-Disposition&amp;blobheadername2=Medios&amp;blobheadervalue1=attachment%3B+filename%3DResolucio%CC%81n_SdE_MJUS_servicios_esenciales.pdf.pdf&amp;blobheadervalue2=1288809791940"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49480A59-04CD-4DD9-ADD2-945F8BAF6CA2}" type="slidenum">
              <a:rPr lang="en-US" smtClean="0"/>
              <a:pPr/>
              <a:t>1</a:t>
            </a:fld>
            <a:endParaRPr lang="en-US"/>
          </a:p>
        </p:txBody>
      </p:sp>
    </p:spTree>
    <p:extLst>
      <p:ext uri="{BB962C8B-B14F-4D97-AF65-F5344CB8AC3E}">
        <p14:creationId xmlns:p14="http://schemas.microsoft.com/office/powerpoint/2010/main" val="1559229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indent="0" algn="l">
              <a:lnSpc>
                <a:spcPct val="150000"/>
              </a:lnSpc>
              <a:buFont typeface="Arial" panose="020B0604020202020204" pitchFamily="34" charset="0"/>
              <a:buNone/>
            </a:pPr>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80A59-04CD-4DD9-ADD2-945F8BAF6CA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60697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lnSpc>
                <a:spcPct val="115000"/>
              </a:lnSpc>
              <a:spcAft>
                <a:spcPts val="800"/>
              </a:spcAft>
            </a:pPr>
            <a:endParaRPr lang="es-ES" sz="1200" b="0" i="0" baseline="-25000" dirty="0">
              <a:solidFill>
                <a:schemeClr val="bg1"/>
              </a:solidFill>
              <a:effectLst/>
              <a:latin typeface="+mj-lt"/>
              <a:ea typeface="Calibri" panose="020F0502020204030204" pitchFamily="34" charset="0"/>
              <a:cs typeface="Times New Roman" panose="02020603050405020304" pitchFamily="18" charset="0"/>
            </a:endParaRPr>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80A59-04CD-4DD9-ADD2-945F8BAF6CA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5805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296" rtl="0" eaLnBrk="1" fontAlgn="auto" latinLnBrk="0" hangingPunct="1">
              <a:lnSpc>
                <a:spcPts val="1400"/>
              </a:lnSpc>
              <a:spcBef>
                <a:spcPts val="0"/>
              </a:spcBef>
              <a:spcAft>
                <a:spcPts val="0"/>
              </a:spcAft>
              <a:buClrTx/>
              <a:buSzTx/>
              <a:buFontTx/>
              <a:buNone/>
              <a:tabLst/>
              <a:defRPr/>
            </a:pPr>
            <a:r>
              <a:rPr lang="es-ES" sz="1200" kern="1200">
                <a:solidFill>
                  <a:schemeClr val="tx1"/>
                </a:solidFill>
                <a:effectLst/>
                <a:latin typeface="+mn-lt"/>
                <a:ea typeface="+mn-ea"/>
                <a:cs typeface="+mn-cs"/>
              </a:rPr>
              <a:t>Se ha puesto en marcha el </a:t>
            </a:r>
            <a:r>
              <a:rPr lang="es-ES" sz="1200" b="1" kern="1200">
                <a:solidFill>
                  <a:schemeClr val="tx1"/>
                </a:solidFill>
                <a:effectLst/>
                <a:latin typeface="+mn-lt"/>
                <a:ea typeface="+mn-ea"/>
                <a:cs typeface="+mn-cs"/>
              </a:rPr>
              <a:t>segundo factor de autenticación</a:t>
            </a:r>
            <a:r>
              <a:rPr lang="es-ES" sz="1200" kern="1200">
                <a:solidFill>
                  <a:schemeClr val="tx1"/>
                </a:solidFill>
                <a:effectLst/>
                <a:latin typeface="+mn-lt"/>
                <a:ea typeface="+mn-ea"/>
                <a:cs typeface="+mn-cs"/>
              </a:rPr>
              <a:t> con el objetivo de ofrecer una solución segura para </a:t>
            </a:r>
            <a:r>
              <a:rPr lang="es-ES" sz="1200" b="1" kern="1200">
                <a:solidFill>
                  <a:schemeClr val="tx1"/>
                </a:solidFill>
                <a:effectLst/>
                <a:latin typeface="+mn-lt"/>
                <a:ea typeface="+mn-ea"/>
                <a:cs typeface="+mn-cs"/>
              </a:rPr>
              <a:t>acceder</a:t>
            </a:r>
            <a:r>
              <a:rPr lang="es-ES" sz="1200" kern="1200">
                <a:solidFill>
                  <a:schemeClr val="tx1"/>
                </a:solidFill>
                <a:effectLst/>
                <a:latin typeface="+mn-lt"/>
                <a:ea typeface="+mn-ea"/>
                <a:cs typeface="+mn-cs"/>
              </a:rPr>
              <a:t> </a:t>
            </a:r>
            <a:r>
              <a:rPr lang="es-ES" sz="1200" b="1" kern="1200">
                <a:solidFill>
                  <a:schemeClr val="tx1"/>
                </a:solidFill>
                <a:effectLst/>
                <a:latin typeface="+mn-lt"/>
                <a:ea typeface="+mn-ea"/>
                <a:cs typeface="+mn-cs"/>
              </a:rPr>
              <a:t>desde los equipos domésticos a los sistemas de teletrabajo Escritorio Virtual y Acceso al equipo de oficina de forma remota a aquellos usuarios que no disponen de certificado digital o lector de tarjetas en su domicilio.</a:t>
            </a:r>
            <a:r>
              <a:rPr lang="es-ES" sz="1200" kern="1200">
                <a:solidFill>
                  <a:schemeClr val="tx1"/>
                </a:solidFill>
                <a:effectLst/>
                <a:latin typeface="+mn-lt"/>
                <a:ea typeface="+mn-ea"/>
                <a:cs typeface="+mn-cs"/>
              </a:rPr>
              <a:t> Desde la SGPGTD se procederá a generar una contraseña de movilidad de 8 caracteres alfanuméricos para dichos usuarios, que les llegará a través de un SMS al teléfono móvil facilitado. Además, en el acceso al sistema de teletrabajo se va a activar un mensaje emergente que incluye la descripción de los términos de uso del sistema, que los usuarios deberán aceptar para acceder. </a:t>
            </a:r>
          </a:p>
          <a:p>
            <a:pPr algn="l">
              <a:lnSpc>
                <a:spcPts val="1400"/>
              </a:lnSpc>
            </a:pPr>
            <a:endParaRPr lang="es-ES" sz="1200">
              <a:latin typeface="Arial Narrow" panose="020B0606020202030204" pitchFamily="34" charset="0"/>
            </a:endParaRPr>
          </a:p>
          <a:p>
            <a:pPr algn="l"/>
            <a:endParaRPr lang="es-ES" sz="1200" b="0" i="0" kern="1200">
              <a:solidFill>
                <a:schemeClr val="tx1"/>
              </a:solidFill>
              <a:effectLst/>
              <a:latin typeface="+mn-lt"/>
              <a:ea typeface="+mn-ea"/>
              <a:cs typeface="+mn-cs"/>
            </a:endParaRPr>
          </a:p>
          <a:p>
            <a:pPr algn="l"/>
            <a:endParaRPr lang="es-ES" sz="1200" b="0" i="0" kern="1200">
              <a:solidFill>
                <a:schemeClr val="tx1"/>
              </a:solidFill>
              <a:effectLst/>
              <a:latin typeface="+mn-lt"/>
              <a:ea typeface="+mn-ea"/>
              <a:cs typeface="+mn-cs"/>
            </a:endParaRPr>
          </a:p>
          <a:p>
            <a:r>
              <a:rPr lang="es-ES" sz="1200" b="0" i="0" kern="1200">
                <a:solidFill>
                  <a:schemeClr val="tx1"/>
                </a:solidFill>
                <a:effectLst/>
                <a:latin typeface="+mn-lt"/>
                <a:ea typeface="+mn-ea"/>
                <a:cs typeface="+mn-cs"/>
              </a:rPr>
              <a:t>Las soluciones TIC que ha puesto en marcha el Ministerio de Justicia permiten que los usuarios dispongan de las herramientas tecnológicas para teletrabajar, evitando así situaciones de riesgo que podrían dar lugar al contagio del virus Covid-19. A modo de ejemplo, </a:t>
            </a:r>
            <a:r>
              <a:rPr lang="es-ES" sz="1200" b="1" i="0" kern="1200">
                <a:solidFill>
                  <a:schemeClr val="tx1"/>
                </a:solidFill>
                <a:effectLst/>
                <a:latin typeface="+mn-lt"/>
                <a:ea typeface="+mn-ea"/>
                <a:cs typeface="+mn-cs"/>
              </a:rPr>
              <a:t>algunos de los supuestos para los que actualmente los usuarios de la Justicia emplean el teletrabajo</a:t>
            </a:r>
            <a:r>
              <a:rPr lang="es-ES" sz="1200" b="0" i="0" kern="1200">
                <a:solidFill>
                  <a:schemeClr val="tx1"/>
                </a:solidFill>
                <a:effectLst/>
                <a:latin typeface="+mn-lt"/>
                <a:ea typeface="+mn-ea"/>
                <a:cs typeface="+mn-cs"/>
              </a:rPr>
              <a:t>, con todas las soluciones TIC contenidas en el mismo (Conexión remota VPN, Escritorio virtual, Acceso al equipo de forma remota y videoconferencia) son:</a:t>
            </a:r>
          </a:p>
          <a:p>
            <a:r>
              <a:rPr lang="es-ES" sz="1200" b="0" i="0" kern="1200">
                <a:solidFill>
                  <a:schemeClr val="tx1"/>
                </a:solidFill>
                <a:effectLst/>
                <a:latin typeface="+mn-lt"/>
                <a:ea typeface="+mn-ea"/>
                <a:cs typeface="+mn-cs"/>
              </a:rPr>
              <a:t> </a:t>
            </a:r>
          </a:p>
          <a:p>
            <a:pPr marL="179388" indent="-179388">
              <a:buClr>
                <a:schemeClr val="accent1"/>
              </a:buClr>
              <a:buSzPct val="120000"/>
              <a:buFont typeface="Arial" panose="020B0604020202020204" pitchFamily="34" charset="0"/>
              <a:buChar char="•"/>
            </a:pPr>
            <a:r>
              <a:rPr lang="es-ES" sz="1200" b="1">
                <a:solidFill>
                  <a:srgbClr val="000000"/>
                </a:solidFill>
                <a:latin typeface="Arial Narrow" panose="020B0606020202030204" pitchFamily="34" charset="0"/>
              </a:rPr>
              <a:t>Presentación de escritos procesales, partes hospitalarios y atestados policiales vinculados a actuaciones judiciales urgentes.</a:t>
            </a:r>
          </a:p>
          <a:p>
            <a:pPr marL="179388" indent="-179388">
              <a:buClr>
                <a:schemeClr val="accent1"/>
              </a:buClr>
              <a:buSzPct val="120000"/>
              <a:buFont typeface="Arial" panose="020B0604020202020204" pitchFamily="34" charset="0"/>
              <a:buChar char="•"/>
            </a:pPr>
            <a:r>
              <a:rPr lang="es-ES" sz="1200" b="1">
                <a:solidFill>
                  <a:srgbClr val="000000"/>
                </a:solidFill>
                <a:latin typeface="Arial Narrow" panose="020B0606020202030204" pitchFamily="34" charset="0"/>
              </a:rPr>
              <a:t>Reuniones entre los profesionales de los Órganos Judiciales y Fiscalías </a:t>
            </a:r>
            <a:r>
              <a:rPr lang="es-ES" sz="1200" b="0">
                <a:solidFill>
                  <a:srgbClr val="000000"/>
                </a:solidFill>
                <a:latin typeface="Arial Narrow" panose="020B0606020202030204" pitchFamily="34" charset="0"/>
              </a:rPr>
              <a:t>para la organización de las tareas a realizar o el reparto de los procedimientos.</a:t>
            </a:r>
          </a:p>
          <a:p>
            <a:pPr marL="179388" indent="-179388">
              <a:buClr>
                <a:schemeClr val="accent1"/>
              </a:buClr>
              <a:buSzPct val="120000"/>
              <a:buFont typeface="Arial" panose="020B0604020202020204" pitchFamily="34" charset="0"/>
              <a:buChar char="•"/>
            </a:pPr>
            <a:r>
              <a:rPr lang="es-ES" sz="1200" b="1">
                <a:solidFill>
                  <a:srgbClr val="000000"/>
                </a:solidFill>
                <a:latin typeface="Arial Narrow" panose="020B0606020202030204" pitchFamily="34" charset="0"/>
              </a:rPr>
              <a:t>Realización de resoluciones judiciales por parte de los Jueces y Magistrados,</a:t>
            </a:r>
            <a:r>
              <a:rPr lang="es-ES" sz="1200" b="0">
                <a:solidFill>
                  <a:srgbClr val="000000"/>
                </a:solidFill>
                <a:latin typeface="Arial Narrow" panose="020B0606020202030204" pitchFamily="34" charset="0"/>
              </a:rPr>
              <a:t> lo que incluye su redacción, firma y notificación a las partes.</a:t>
            </a:r>
          </a:p>
          <a:p>
            <a:pPr marL="179388" indent="-179388">
              <a:buClr>
                <a:schemeClr val="accent1"/>
              </a:buClr>
              <a:buSzPct val="120000"/>
              <a:buFont typeface="Arial" panose="020B0604020202020204" pitchFamily="34" charset="0"/>
              <a:buChar char="•"/>
            </a:pPr>
            <a:r>
              <a:rPr lang="es-ES" sz="1200" b="1">
                <a:solidFill>
                  <a:srgbClr val="000000"/>
                </a:solidFill>
                <a:latin typeface="Arial Narrow" panose="020B0606020202030204" pitchFamily="34" charset="0"/>
              </a:rPr>
              <a:t>Reuniones entre los profesionales de los Órganos Judiciales y los hospitales </a:t>
            </a:r>
            <a:r>
              <a:rPr lang="es-ES" sz="1200" b="0">
                <a:solidFill>
                  <a:srgbClr val="000000"/>
                </a:solidFill>
                <a:latin typeface="Arial Narrow" panose="020B0606020202030204" pitchFamily="34" charset="0"/>
              </a:rPr>
              <a:t>para la recepción o realización de pruebas sanitarias en la fase de instrucción o para la participación durante la fase de juicio oral.</a:t>
            </a:r>
          </a:p>
          <a:p>
            <a:pPr marL="179388" indent="-179388">
              <a:buClr>
                <a:schemeClr val="accent1"/>
              </a:buClr>
              <a:buSzPct val="120000"/>
              <a:buFont typeface="Arial" panose="020B0604020202020204" pitchFamily="34" charset="0"/>
              <a:buChar char="•"/>
            </a:pPr>
            <a:r>
              <a:rPr lang="es-ES" sz="1200" b="1">
                <a:solidFill>
                  <a:srgbClr val="000000"/>
                </a:solidFill>
                <a:latin typeface="Arial Narrow" panose="020B0606020202030204" pitchFamily="34" charset="0"/>
              </a:rPr>
              <a:t>Tramitación electrónica de los expedientes </a:t>
            </a:r>
            <a:r>
              <a:rPr lang="es-ES" sz="1200" b="0">
                <a:solidFill>
                  <a:srgbClr val="000000"/>
                </a:solidFill>
                <a:latin typeface="Arial Narrow" panose="020B0606020202030204" pitchFamily="34" charset="0"/>
              </a:rPr>
              <a:t>vinculados a las actuaciones judiciales enmarcados dentro de los servicios esenciales establecidos*.</a:t>
            </a:r>
          </a:p>
          <a:p>
            <a:pPr marL="179388" indent="-179388">
              <a:buClr>
                <a:schemeClr val="accent1"/>
              </a:buClr>
              <a:buSzPct val="120000"/>
              <a:buFont typeface="Arial" panose="020B0604020202020204" pitchFamily="34" charset="0"/>
              <a:buChar char="•"/>
            </a:pPr>
            <a:r>
              <a:rPr lang="es-ES" sz="1200" b="1">
                <a:solidFill>
                  <a:srgbClr val="000000"/>
                </a:solidFill>
                <a:latin typeface="Arial Narrow" panose="020B0606020202030204" pitchFamily="34" charset="0"/>
              </a:rPr>
              <a:t>Inscripción de nacimientos, defunciones y matrimonios in artículo mortis en las Oficinas de Registro Civil.</a:t>
            </a:r>
          </a:p>
          <a:p>
            <a:pPr marL="179388" indent="-179388">
              <a:buClr>
                <a:schemeClr val="accent1"/>
              </a:buClr>
              <a:buSzPct val="120000"/>
              <a:buFont typeface="Arial" panose="020B0604020202020204" pitchFamily="34" charset="0"/>
              <a:buChar char="•"/>
            </a:pPr>
            <a:r>
              <a:rPr lang="es-ES" sz="1200" b="1">
                <a:solidFill>
                  <a:srgbClr val="000000"/>
                </a:solidFill>
                <a:latin typeface="Arial Narrow" panose="020B0606020202030204" pitchFamily="34" charset="0"/>
              </a:rPr>
              <a:t>Gestión de los pagos de las nóminas </a:t>
            </a:r>
            <a:r>
              <a:rPr lang="es-ES" sz="1200" b="0">
                <a:solidFill>
                  <a:srgbClr val="000000"/>
                </a:solidFill>
                <a:latin typeface="Arial Narrow" panose="020B0606020202030204" pitchFamily="34" charset="0"/>
              </a:rPr>
              <a:t>de los funcionarios de la Justicia. </a:t>
            </a:r>
          </a:p>
          <a:p>
            <a:pPr marL="179388" indent="-179388">
              <a:buClr>
                <a:schemeClr val="accent1"/>
              </a:buClr>
              <a:buSzPct val="120000"/>
              <a:buFont typeface="Arial" panose="020B0604020202020204" pitchFamily="34" charset="0"/>
              <a:buChar char="•"/>
            </a:pPr>
            <a:r>
              <a:rPr lang="es-ES" sz="1200" b="1">
                <a:solidFill>
                  <a:srgbClr val="000000"/>
                </a:solidFill>
                <a:latin typeface="Arial Narrow" panose="020B0606020202030204" pitchFamily="34" charset="0"/>
              </a:rPr>
              <a:t>Gestión de la información toxicológica </a:t>
            </a:r>
            <a:r>
              <a:rPr lang="es-ES" sz="1200" b="0">
                <a:solidFill>
                  <a:srgbClr val="000000"/>
                </a:solidFill>
                <a:latin typeface="Arial Narrow" panose="020B0606020202030204" pitchFamily="34" charset="0"/>
              </a:rPr>
              <a:t>por parte de los funcionarios del INTCF.</a:t>
            </a:r>
          </a:p>
          <a:p>
            <a:pPr marL="179388" indent="-179388">
              <a:buClr>
                <a:schemeClr val="accent1"/>
              </a:buClr>
              <a:buSzPct val="120000"/>
              <a:buFont typeface="Arial" panose="020B0604020202020204" pitchFamily="34" charset="0"/>
              <a:buChar char="•"/>
            </a:pPr>
            <a:r>
              <a:rPr lang="es-ES" sz="1200" b="1">
                <a:solidFill>
                  <a:srgbClr val="000000"/>
                </a:solidFill>
                <a:latin typeface="Arial Narrow" panose="020B0606020202030204" pitchFamily="34" charset="0"/>
              </a:rPr>
              <a:t>Gestión y tramitación del Expediente Pericial Electrónico </a:t>
            </a:r>
            <a:r>
              <a:rPr lang="es-ES" sz="1200" b="0">
                <a:solidFill>
                  <a:srgbClr val="000000"/>
                </a:solidFill>
                <a:latin typeface="Arial Narrow" panose="020B0606020202030204" pitchFamily="34" charset="0"/>
              </a:rPr>
              <a:t>por parte de los funcionarios de los IML.</a:t>
            </a:r>
          </a:p>
          <a:p>
            <a:pPr marL="179388" indent="-179388">
              <a:buClr>
                <a:schemeClr val="accent1"/>
              </a:buClr>
              <a:buSzPct val="120000"/>
              <a:buFont typeface="Arial" panose="020B0604020202020204" pitchFamily="34" charset="0"/>
              <a:buChar char="•"/>
            </a:pPr>
            <a:endParaRPr lang="es-ES" sz="1200" b="1" i="0">
              <a:solidFill>
                <a:srgbClr val="000000"/>
              </a:solidFill>
              <a:effectLst/>
              <a:latin typeface="Arial Narrow" panose="020B0606020202030204" pitchFamily="34" charset="0"/>
            </a:endParaRPr>
          </a:p>
          <a:p>
            <a:r>
              <a:rPr lang="es-ES" sz="1200" b="1" i="0">
                <a:solidFill>
                  <a:srgbClr val="000000"/>
                </a:solidFill>
                <a:effectLst/>
                <a:latin typeface="Arial Narrow" panose="020B0606020202030204" pitchFamily="34" charset="0"/>
              </a:rPr>
              <a:t>* </a:t>
            </a:r>
            <a:r>
              <a:rPr lang="es-ES" sz="1200" kern="1200">
                <a:solidFill>
                  <a:schemeClr val="tx1"/>
                </a:solidFill>
                <a:effectLst/>
                <a:latin typeface="+mn-lt"/>
                <a:ea typeface="+mn-ea"/>
                <a:cs typeface="+mn-cs"/>
              </a:rPr>
              <a:t>Los servicios esenciales para garantizar la actividad judicial acordados por Resolución del Secretario de Estado de Justicia de fecha 14 de marzo son: </a:t>
            </a:r>
          </a:p>
          <a:p>
            <a:r>
              <a:rPr lang="es-ES" sz="1200" kern="1200">
                <a:solidFill>
                  <a:schemeClr val="tx1"/>
                </a:solidFill>
                <a:effectLst/>
                <a:latin typeface="+mn-lt"/>
                <a:ea typeface="+mn-ea"/>
                <a:cs typeface="+mn-cs"/>
              </a:rPr>
              <a:t>1. Cualquier actuación judicial que, de no practicarse, pudiera causar un </a:t>
            </a:r>
            <a:r>
              <a:rPr lang="es-ES" sz="1200" b="1" kern="1200">
                <a:solidFill>
                  <a:schemeClr val="tx1"/>
                </a:solidFill>
                <a:effectLst/>
                <a:latin typeface="+mn-lt"/>
                <a:ea typeface="+mn-ea"/>
                <a:cs typeface="+mn-cs"/>
              </a:rPr>
              <a:t>perjuicio irreparable o que sean urgentes o resulten inaplazables. </a:t>
            </a:r>
          </a:p>
          <a:p>
            <a:r>
              <a:rPr lang="es-ES" sz="1200" kern="1200">
                <a:solidFill>
                  <a:schemeClr val="tx1"/>
                </a:solidFill>
                <a:effectLst/>
                <a:latin typeface="+mn-lt"/>
                <a:ea typeface="+mn-ea"/>
                <a:cs typeface="+mn-cs"/>
              </a:rPr>
              <a:t>2. Internamientos urgentes o la adopción de medidas cautelares u otras actuaciones inaplazables, como las medidas de </a:t>
            </a:r>
            <a:r>
              <a:rPr lang="es-ES" sz="1200" b="1" kern="1200">
                <a:solidFill>
                  <a:schemeClr val="tx1"/>
                </a:solidFill>
                <a:effectLst/>
                <a:latin typeface="+mn-lt"/>
                <a:ea typeface="+mn-ea"/>
                <a:cs typeface="+mn-cs"/>
              </a:rPr>
              <a:t>protección de menores</a:t>
            </a:r>
            <a:r>
              <a:rPr lang="es-ES" sz="1200" kern="1200">
                <a:solidFill>
                  <a:schemeClr val="tx1"/>
                </a:solidFill>
                <a:effectLst/>
                <a:latin typeface="+mn-lt"/>
                <a:ea typeface="+mn-ea"/>
                <a:cs typeface="+mn-cs"/>
              </a:rPr>
              <a:t>. </a:t>
            </a:r>
          </a:p>
          <a:p>
            <a:r>
              <a:rPr lang="es-ES" sz="1200" kern="1200">
                <a:solidFill>
                  <a:schemeClr val="tx1"/>
                </a:solidFill>
                <a:effectLst/>
                <a:latin typeface="+mn-lt"/>
                <a:ea typeface="+mn-ea"/>
                <a:cs typeface="+mn-cs"/>
              </a:rPr>
              <a:t>3. Los </a:t>
            </a:r>
            <a:r>
              <a:rPr lang="es-ES" sz="1200" b="1" kern="1200">
                <a:solidFill>
                  <a:schemeClr val="tx1"/>
                </a:solidFill>
                <a:effectLst/>
                <a:latin typeface="+mn-lt"/>
                <a:ea typeface="+mn-ea"/>
                <a:cs typeface="+mn-cs"/>
              </a:rPr>
              <a:t>juzgados de violencia sobre la mujer </a:t>
            </a:r>
            <a:r>
              <a:rPr lang="es-ES" sz="1200" kern="1200">
                <a:solidFill>
                  <a:schemeClr val="tx1"/>
                </a:solidFill>
                <a:effectLst/>
                <a:latin typeface="+mn-lt"/>
                <a:ea typeface="+mn-ea"/>
                <a:cs typeface="+mn-cs"/>
              </a:rPr>
              <a:t>realizarán los servicios de guardia para asegurar el dictado de las órdenes de protección y cualquier medida cautelar. </a:t>
            </a:r>
          </a:p>
          <a:p>
            <a:r>
              <a:rPr lang="es-ES" sz="1200" kern="1200">
                <a:solidFill>
                  <a:schemeClr val="tx1"/>
                </a:solidFill>
                <a:effectLst/>
                <a:latin typeface="+mn-lt"/>
                <a:ea typeface="+mn-ea"/>
                <a:cs typeface="+mn-cs"/>
              </a:rPr>
              <a:t>4. El </a:t>
            </a:r>
            <a:r>
              <a:rPr lang="es-ES" sz="1200" b="1" kern="1200">
                <a:solidFill>
                  <a:schemeClr val="tx1"/>
                </a:solidFill>
                <a:effectLst/>
                <a:latin typeface="+mn-lt"/>
                <a:ea typeface="+mn-ea"/>
                <a:cs typeface="+mn-cs"/>
              </a:rPr>
              <a:t>Registro Civil </a:t>
            </a:r>
            <a:r>
              <a:rPr lang="es-ES" sz="1200" kern="1200">
                <a:solidFill>
                  <a:schemeClr val="tx1"/>
                </a:solidFill>
                <a:effectLst/>
                <a:latin typeface="+mn-lt"/>
                <a:ea typeface="+mn-ea"/>
                <a:cs typeface="+mn-cs"/>
              </a:rPr>
              <a:t>prestará atención para asegurar la expedición de licencias de enterramiento, las inscripciones de nacimiento y la celebración de matrimonios del que se halle en peligro de muerte. </a:t>
            </a:r>
          </a:p>
          <a:p>
            <a:r>
              <a:rPr lang="es-ES" sz="1200" kern="1200">
                <a:solidFill>
                  <a:schemeClr val="tx1"/>
                </a:solidFill>
                <a:effectLst/>
                <a:latin typeface="+mn-lt"/>
                <a:ea typeface="+mn-ea"/>
                <a:cs typeface="+mn-cs"/>
              </a:rPr>
              <a:t>5. Cualquier </a:t>
            </a:r>
            <a:r>
              <a:rPr lang="es-ES" sz="1200" b="1" kern="1200">
                <a:solidFill>
                  <a:schemeClr val="tx1"/>
                </a:solidFill>
                <a:effectLst/>
                <a:latin typeface="+mn-lt"/>
                <a:ea typeface="+mn-ea"/>
                <a:cs typeface="+mn-cs"/>
              </a:rPr>
              <a:t>actuación en causa con presos o detenidos</a:t>
            </a:r>
            <a:r>
              <a:rPr lang="es-ES" sz="1200" kern="1200">
                <a:solidFill>
                  <a:schemeClr val="tx1"/>
                </a:solidFill>
                <a:effectLst/>
                <a:latin typeface="+mn-lt"/>
                <a:ea typeface="+mn-ea"/>
                <a:cs typeface="+mn-cs"/>
              </a:rPr>
              <a:t>. </a:t>
            </a:r>
          </a:p>
          <a:p>
            <a:r>
              <a:rPr lang="es-ES" sz="1200" kern="1200">
                <a:solidFill>
                  <a:schemeClr val="tx1"/>
                </a:solidFill>
                <a:effectLst/>
                <a:latin typeface="+mn-lt"/>
                <a:ea typeface="+mn-ea"/>
                <a:cs typeface="+mn-cs"/>
              </a:rPr>
              <a:t>6. Las actuaciones urgentes en materia de </a:t>
            </a:r>
            <a:r>
              <a:rPr lang="es-ES" sz="1200" b="1" kern="1200">
                <a:solidFill>
                  <a:schemeClr val="tx1"/>
                </a:solidFill>
                <a:effectLst/>
                <a:latin typeface="+mn-lt"/>
                <a:ea typeface="+mn-ea"/>
                <a:cs typeface="+mn-cs"/>
              </a:rPr>
              <a:t>vigilancia penitenciaria</a:t>
            </a:r>
            <a:r>
              <a:rPr lang="es-ES" sz="1200" kern="1200">
                <a:solidFill>
                  <a:schemeClr val="tx1"/>
                </a:solidFill>
                <a:effectLst/>
                <a:latin typeface="+mn-lt"/>
                <a:ea typeface="+mn-ea"/>
                <a:cs typeface="+mn-cs"/>
              </a:rPr>
              <a:t>. </a:t>
            </a:r>
          </a:p>
          <a:p>
            <a:r>
              <a:rPr lang="es-ES">
                <a:hlinkClick r:id="rId3"/>
              </a:rPr>
              <a:t>https://www.mjusticia.gob.es/cs/Satellite/Portal/1292429892467?blobheader=application%2Fpdf&amp;blobheadername1=Content-Disposition&amp;blobheadername2=Medios&amp;blobheadervalue1=attachment%3B+filename%3DResolucio%CC%81n_SdE_MJUS_servicios_esenciales.pdf.pdf&amp;blobheadervalue2=1288809791940</a:t>
            </a:r>
            <a:r>
              <a:rPr lang="es-ES"/>
              <a:t> </a:t>
            </a:r>
            <a:endParaRPr lang="es-ES" sz="1200" kern="1200">
              <a:solidFill>
                <a:schemeClr val="tx1"/>
              </a:solidFill>
              <a:effectLst/>
              <a:latin typeface="+mn-lt"/>
              <a:ea typeface="+mn-ea"/>
              <a:cs typeface="+mn-cs"/>
            </a:endParaRPr>
          </a:p>
          <a:p>
            <a:pPr marL="0" indent="0">
              <a:buClr>
                <a:schemeClr val="accent1"/>
              </a:buClr>
              <a:buSzPct val="120000"/>
              <a:buFont typeface="Arial" panose="020B0604020202020204" pitchFamily="34" charset="0"/>
              <a:buNone/>
            </a:pPr>
            <a:endParaRPr lang="es-ES" sz="1200" b="0" i="0">
              <a:solidFill>
                <a:srgbClr val="000000"/>
              </a:solidFill>
              <a:effectLst/>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1200">
              <a:solidFill>
                <a:srgbClr val="4E4E4E"/>
              </a:solidFill>
              <a:latin typeface="Arial Narrow" panose="020B0606020202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s-ES"/>
          </a:p>
        </p:txBody>
      </p:sp>
      <p:sp>
        <p:nvSpPr>
          <p:cNvPr id="4" name="Marcador de número de diapositiva 3"/>
          <p:cNvSpPr>
            <a:spLocks noGrp="1"/>
          </p:cNvSpPr>
          <p:nvPr>
            <p:ph type="sldNum" sz="quarter" idx="5"/>
          </p:nvPr>
        </p:nvSpPr>
        <p:spPr/>
        <p:txBody>
          <a:bodyPr/>
          <a:lstStyle/>
          <a:p>
            <a:fld id="{49480A59-04CD-4DD9-ADD2-945F8BAF6CA2}" type="slidenum">
              <a:rPr lang="en-US" smtClean="0"/>
              <a:pPr/>
              <a:t>6</a:t>
            </a:fld>
            <a:endParaRPr lang="en-US"/>
          </a:p>
        </p:txBody>
      </p:sp>
    </p:spTree>
    <p:extLst>
      <p:ext uri="{BB962C8B-B14F-4D97-AF65-F5344CB8AC3E}">
        <p14:creationId xmlns:p14="http://schemas.microsoft.com/office/powerpoint/2010/main" val="15249934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indent="0" algn="l">
              <a:lnSpc>
                <a:spcPct val="150000"/>
              </a:lnSpc>
              <a:buFont typeface="Arial" panose="020B0604020202020204" pitchFamily="34" charset="0"/>
              <a:buNone/>
            </a:pPr>
            <a:endParaRPr lang="es-ES"/>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80A59-04CD-4DD9-ADD2-945F8BAF6CA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879810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285750" indent="-285750">
              <a:spcAft>
                <a:spcPts val="600"/>
              </a:spcAft>
              <a:buFont typeface="Arial" panose="020B0604020202020204" pitchFamily="34" charset="0"/>
              <a:buChar char="•"/>
              <a:defRPr/>
            </a:pPr>
            <a:r>
              <a:rPr lang="es-ES" sz="1200" b="1">
                <a:solidFill>
                  <a:schemeClr val="tx1">
                    <a:lumMod val="50000"/>
                  </a:schemeClr>
                </a:solidFill>
                <a:latin typeface="+mj-lt"/>
              </a:rPr>
              <a:t>Eliminar</a:t>
            </a:r>
            <a:r>
              <a:rPr lang="es-ES" sz="1200" b="1" i="0">
                <a:solidFill>
                  <a:schemeClr val="tx1">
                    <a:lumMod val="50000"/>
                  </a:schemeClr>
                </a:solidFill>
                <a:effectLst/>
                <a:latin typeface="+mj-lt"/>
              </a:rPr>
              <a:t> la dependencia física de las vistas permitiendo a ciudadanos con movilidad reducida asistir.</a:t>
            </a:r>
          </a:p>
          <a:p>
            <a:pPr marL="285750" indent="-285750">
              <a:spcAft>
                <a:spcPts val="600"/>
              </a:spcAft>
              <a:buFont typeface="Arial" panose="020B0604020202020204" pitchFamily="34" charset="0"/>
              <a:buChar char="•"/>
              <a:defRPr/>
            </a:pPr>
            <a:r>
              <a:rPr lang="es-ES" sz="1200">
                <a:solidFill>
                  <a:schemeClr val="tx1">
                    <a:lumMod val="50000"/>
                  </a:schemeClr>
                </a:solidFill>
                <a:latin typeface="+mj-lt"/>
                <a:ea typeface="Calibri" panose="020F0502020204030204" pitchFamily="34" charset="0"/>
                <a:cs typeface="Times New Roman" panose="02020603050405020304" pitchFamily="18" charset="0"/>
              </a:rPr>
              <a:t>Favorecer la </a:t>
            </a:r>
            <a:r>
              <a:rPr lang="es-ES" sz="1200" b="1">
                <a:solidFill>
                  <a:schemeClr val="tx1">
                    <a:lumMod val="50000"/>
                  </a:schemeClr>
                </a:solidFill>
                <a:latin typeface="+mj-lt"/>
                <a:ea typeface="Calibri" panose="020F0502020204030204" pitchFamily="34" charset="0"/>
                <a:cs typeface="Times New Roman" panose="02020603050405020304" pitchFamily="18" charset="0"/>
              </a:rPr>
              <a:t>permanencia de la mujer en la conciliación familiar y profesional.</a:t>
            </a:r>
          </a:p>
          <a:p>
            <a:pPr marL="285750" indent="-285750">
              <a:spcAft>
                <a:spcPts val="600"/>
              </a:spcAft>
              <a:buFont typeface="Arial" panose="020B0604020202020204" pitchFamily="34" charset="0"/>
              <a:buChar char="•"/>
              <a:defRPr/>
            </a:pPr>
            <a:r>
              <a:rPr lang="es-ES" sz="1200">
                <a:solidFill>
                  <a:schemeClr val="tx1">
                    <a:lumMod val="50000"/>
                  </a:schemeClr>
                </a:solidFill>
                <a:latin typeface="+mj-lt"/>
                <a:cs typeface="Times New Roman" panose="02020603050405020304" pitchFamily="18" charset="0"/>
              </a:rPr>
              <a:t>Reducir los desplazamientos, minimizar el consumo de papel y atenuar las emisiones de carbono, en línea con los objetivos de la Unión Europea y la Organización de las Naciones Unidas.</a:t>
            </a:r>
          </a:p>
          <a:p>
            <a:pPr marL="285750" indent="-285750">
              <a:spcAft>
                <a:spcPts val="600"/>
              </a:spcAft>
              <a:buFont typeface="Arial" panose="020B0604020202020204" pitchFamily="34" charset="0"/>
              <a:buChar char="•"/>
              <a:defRPr/>
            </a:pPr>
            <a:r>
              <a:rPr lang="es-ES" sz="1200" b="1">
                <a:solidFill>
                  <a:schemeClr val="tx1">
                    <a:lumMod val="50000"/>
                  </a:schemeClr>
                </a:solidFill>
                <a:effectLst/>
                <a:latin typeface="+mj-lt"/>
                <a:ea typeface="Calibri" panose="020F0502020204030204" pitchFamily="34" charset="0"/>
              </a:rPr>
              <a:t>Incrementar la seguridad</a:t>
            </a:r>
            <a:r>
              <a:rPr lang="es-ES" sz="1200">
                <a:solidFill>
                  <a:schemeClr val="tx1">
                    <a:lumMod val="50000"/>
                  </a:schemeClr>
                </a:solidFill>
                <a:effectLst/>
                <a:latin typeface="+mj-lt"/>
                <a:ea typeface="Calibri" panose="020F0502020204030204" pitchFamily="34" charset="0"/>
              </a:rPr>
              <a:t> con profesionales preparados frente a las </a:t>
            </a:r>
            <a:r>
              <a:rPr lang="es-ES" sz="1200" err="1">
                <a:solidFill>
                  <a:schemeClr val="tx1">
                    <a:lumMod val="50000"/>
                  </a:schemeClr>
                </a:solidFill>
                <a:effectLst/>
                <a:latin typeface="+mj-lt"/>
                <a:ea typeface="Calibri" panose="020F0502020204030204" pitchFamily="34" charset="0"/>
              </a:rPr>
              <a:t>ciberamenazas</a:t>
            </a:r>
            <a:r>
              <a:rPr lang="es-ES" sz="1200">
                <a:solidFill>
                  <a:schemeClr val="tx1">
                    <a:lumMod val="50000"/>
                  </a:schemeClr>
                </a:solidFill>
                <a:effectLst/>
                <a:latin typeface="+mj-lt"/>
                <a:ea typeface="Calibri" panose="020F0502020204030204" pitchFamily="34" charset="0"/>
              </a:rPr>
              <a:t>.</a:t>
            </a:r>
            <a:endParaRPr lang="es-ES" sz="1200">
              <a:solidFill>
                <a:schemeClr val="tx1">
                  <a:lumMod val="50000"/>
                </a:schemeClr>
              </a:solidFill>
              <a:effectLst/>
              <a:latin typeface="+mj-lt"/>
              <a:ea typeface="Calibri" panose="020F0502020204030204" pitchFamily="34" charset="0"/>
              <a:cs typeface="Times New Roman" panose="02020603050405020304" pitchFamily="18" charset="0"/>
            </a:endParaRPr>
          </a:p>
          <a:p>
            <a:pPr marL="285750" indent="-285750">
              <a:spcAft>
                <a:spcPts val="600"/>
              </a:spcAft>
              <a:buFont typeface="Arial" panose="020B0604020202020204" pitchFamily="34" charset="0"/>
              <a:buChar char="•"/>
              <a:defRPr/>
            </a:pPr>
            <a:r>
              <a:rPr lang="es-ES" sz="1200" b="1">
                <a:solidFill>
                  <a:schemeClr val="tx1">
                    <a:lumMod val="50000"/>
                  </a:schemeClr>
                </a:solidFill>
                <a:effectLst/>
                <a:latin typeface="+mj-lt"/>
                <a:ea typeface="Calibri" panose="020F0502020204030204" pitchFamily="34" charset="0"/>
              </a:rPr>
              <a:t>Aumentar la productividad</a:t>
            </a:r>
            <a:r>
              <a:rPr lang="es-ES" sz="1200">
                <a:solidFill>
                  <a:schemeClr val="tx1">
                    <a:lumMod val="50000"/>
                  </a:schemeClr>
                </a:solidFill>
                <a:effectLst/>
                <a:latin typeface="+mj-lt"/>
                <a:ea typeface="Calibri" panose="020F0502020204030204" pitchFamily="34" charset="0"/>
              </a:rPr>
              <a:t> mejorando las herramientas de trabajo</a:t>
            </a:r>
            <a:r>
              <a:rPr lang="es-ES" sz="1200">
                <a:solidFill>
                  <a:schemeClr val="tx1">
                    <a:lumMod val="50000"/>
                  </a:schemeClr>
                </a:solidFill>
                <a:effectLst/>
                <a:latin typeface="+mj-lt"/>
                <a:ea typeface="Times New Roman" panose="02020603050405020304" pitchFamily="18" charset="0"/>
              </a:rPr>
              <a:t>.</a:t>
            </a:r>
            <a:r>
              <a:rPr lang="es-ES" sz="1200">
                <a:solidFill>
                  <a:schemeClr val="tx1">
                    <a:lumMod val="50000"/>
                  </a:schemeClr>
                </a:solidFill>
                <a:effectLst/>
                <a:latin typeface="+mj-lt"/>
                <a:ea typeface="Calibri" panose="020F0502020204030204" pitchFamily="34" charset="0"/>
                <a:cs typeface="Times New Roman" panose="02020603050405020304" pitchFamily="18" charset="0"/>
              </a:rPr>
              <a:t> </a:t>
            </a:r>
            <a:endParaRPr lang="es-ES" sz="1200">
              <a:solidFill>
                <a:schemeClr val="tx1">
                  <a:lumMod val="50000"/>
                </a:schemeClr>
              </a:solidFill>
              <a:latin typeface="+mj-lt"/>
              <a:ea typeface="Calibri" panose="020F0502020204030204" pitchFamily="34" charset="0"/>
              <a:cs typeface="Times New Roman" panose="02020603050405020304" pitchFamily="18" charset="0"/>
            </a:endParaRPr>
          </a:p>
          <a:p>
            <a:pPr marL="285750" indent="-285750">
              <a:spcAft>
                <a:spcPts val="600"/>
              </a:spcAft>
              <a:buFont typeface="Arial" panose="020B0604020202020204" pitchFamily="34" charset="0"/>
              <a:buChar char="•"/>
              <a:defRPr/>
            </a:pPr>
            <a:r>
              <a:rPr lang="es-ES" sz="1200">
                <a:solidFill>
                  <a:schemeClr val="tx1">
                    <a:lumMod val="50000"/>
                  </a:schemeClr>
                </a:solidFill>
                <a:latin typeface="+mj-lt"/>
              </a:rPr>
              <a:t>Fomentar</a:t>
            </a:r>
            <a:r>
              <a:rPr lang="es-ES" sz="1200" b="0" i="0">
                <a:solidFill>
                  <a:schemeClr val="tx1">
                    <a:lumMod val="50000"/>
                  </a:schemeClr>
                </a:solidFill>
                <a:effectLst/>
                <a:latin typeface="+mj-lt"/>
              </a:rPr>
              <a:t> el trabajo colaborativo y el intercambio de información.</a:t>
            </a:r>
          </a:p>
          <a:p>
            <a:pPr marL="285750" indent="-285750">
              <a:spcAft>
                <a:spcPts val="600"/>
              </a:spcAft>
              <a:buFont typeface="Arial" panose="020B0604020202020204" pitchFamily="34" charset="0"/>
              <a:buChar char="•"/>
              <a:defRPr/>
            </a:pPr>
            <a:r>
              <a:rPr lang="es-ES" sz="1200" b="0" i="0">
                <a:solidFill>
                  <a:schemeClr val="tx1">
                    <a:lumMod val="50000"/>
                  </a:schemeClr>
                </a:solidFill>
                <a:effectLst/>
                <a:latin typeface="+mj-lt"/>
              </a:rPr>
              <a:t>Dar cumplimiento al principio de publicidad de actuaciones judiciales que establece el artículo 120 de la Constitución Española.</a:t>
            </a:r>
          </a:p>
          <a:p>
            <a:pPr marL="285750" indent="-285750">
              <a:spcAft>
                <a:spcPts val="600"/>
              </a:spcAft>
              <a:buFont typeface="Arial" panose="020B0604020202020204" pitchFamily="34" charset="0"/>
              <a:buChar char="•"/>
              <a:defRPr/>
            </a:pPr>
            <a:r>
              <a:rPr lang="es-ES" sz="1200">
                <a:solidFill>
                  <a:schemeClr val="tx1">
                    <a:lumMod val="50000"/>
                  </a:schemeClr>
                </a:solidFill>
                <a:latin typeface="+mj-lt"/>
              </a:rPr>
              <a:t>Luchar contra la España vaciada. </a:t>
            </a:r>
          </a:p>
          <a:p>
            <a:pPr marL="285750" indent="-285750">
              <a:spcAft>
                <a:spcPts val="600"/>
              </a:spcAft>
              <a:buFont typeface="Arial" panose="020B0604020202020204" pitchFamily="34" charset="0"/>
              <a:buChar char="•"/>
              <a:defRPr/>
            </a:pPr>
            <a:r>
              <a:rPr lang="es-ES" sz="1200" b="0" i="0">
                <a:solidFill>
                  <a:schemeClr val="tx1">
                    <a:lumMod val="50000"/>
                  </a:schemeClr>
                </a:solidFill>
                <a:effectLst/>
                <a:latin typeface="+mj-lt"/>
              </a:rPr>
              <a:t>Optimización en el desempe</a:t>
            </a:r>
            <a:r>
              <a:rPr lang="es-ES" sz="1200">
                <a:solidFill>
                  <a:schemeClr val="tx1">
                    <a:lumMod val="50000"/>
                  </a:schemeClr>
                </a:solidFill>
                <a:latin typeface="+mj-lt"/>
              </a:rPr>
              <a:t>ño de tareas de las personas con movilidad reducida al no tener que desplazarse. fortalece la empleabilidad a personas con movilidad reducida que tienen difícil acceso a puestos de trabajo convencionales, favorece el desarrollo de tecnologías inclusivas y accesibles para todos. </a:t>
            </a:r>
          </a:p>
          <a:p>
            <a:pPr marL="285750" indent="-285750">
              <a:spcAft>
                <a:spcPts val="600"/>
              </a:spcAft>
              <a:buFont typeface="Arial" panose="020B0604020202020204" pitchFamily="34" charset="0"/>
              <a:buChar char="•"/>
              <a:defRPr/>
            </a:pPr>
            <a:r>
              <a:rPr lang="es-ES" sz="1200">
                <a:solidFill>
                  <a:schemeClr val="tx1">
                    <a:lumMod val="50000"/>
                  </a:schemeClr>
                </a:solidFill>
                <a:latin typeface="+mj-lt"/>
              </a:rPr>
              <a:t>Construir puentes para superar la brecha digital e incorporarse a la sociedad de la información.</a:t>
            </a:r>
          </a:p>
          <a:p>
            <a:pPr marL="285750" indent="-285750">
              <a:spcAft>
                <a:spcPts val="600"/>
              </a:spcAft>
              <a:buFont typeface="Arial" panose="020B0604020202020204" pitchFamily="34" charset="0"/>
              <a:buChar char="•"/>
              <a:defRPr/>
            </a:pPr>
            <a:r>
              <a:rPr lang="es-ES" sz="1200">
                <a:solidFill>
                  <a:schemeClr val="tx1">
                    <a:lumMod val="50000"/>
                  </a:schemeClr>
                </a:solidFill>
                <a:latin typeface="+mj-lt"/>
              </a:rPr>
              <a:t>Mayor autonomía de los usuarios. </a:t>
            </a:r>
          </a:p>
          <a:p>
            <a:pPr marL="285750" indent="-285750">
              <a:spcAft>
                <a:spcPts val="600"/>
              </a:spcAft>
              <a:buFont typeface="Arial" panose="020B0604020202020204" pitchFamily="34" charset="0"/>
              <a:buChar char="•"/>
              <a:defRPr/>
            </a:pPr>
            <a:r>
              <a:rPr lang="es-ES" sz="1200">
                <a:solidFill>
                  <a:schemeClr val="tx1">
                    <a:lumMod val="50000"/>
                  </a:schemeClr>
                </a:solidFill>
                <a:highlight>
                  <a:srgbClr val="FFFF00"/>
                </a:highlight>
                <a:latin typeface="+mj-lt"/>
              </a:rPr>
              <a:t>Mejorar la calidad e imagen del servicio de Justicia. </a:t>
            </a:r>
          </a:p>
          <a:p>
            <a:pPr marL="285750" indent="-285750">
              <a:spcAft>
                <a:spcPts val="600"/>
              </a:spcAft>
              <a:buFont typeface="Arial" panose="020B0604020202020204" pitchFamily="34" charset="0"/>
              <a:buChar char="•"/>
              <a:defRPr/>
            </a:pPr>
            <a:r>
              <a:rPr lang="es-ES" sz="1200" b="0" i="0">
                <a:solidFill>
                  <a:schemeClr val="tx1">
                    <a:lumMod val="50000"/>
                  </a:schemeClr>
                </a:solidFill>
                <a:effectLst/>
                <a:highlight>
                  <a:srgbClr val="FFFF00"/>
                </a:highlight>
                <a:latin typeface="+mj-lt"/>
              </a:rPr>
              <a:t>Textualización – personas con reducció</a:t>
            </a:r>
            <a:r>
              <a:rPr lang="es-ES" sz="1200">
                <a:solidFill>
                  <a:schemeClr val="tx1">
                    <a:lumMod val="50000"/>
                  </a:schemeClr>
                </a:solidFill>
                <a:highlight>
                  <a:srgbClr val="FFFF00"/>
                </a:highlight>
                <a:latin typeface="+mj-lt"/>
              </a:rPr>
              <a:t>n auditiva.</a:t>
            </a:r>
          </a:p>
          <a:p>
            <a:pPr marL="285750" indent="-285750">
              <a:spcAft>
                <a:spcPts val="600"/>
              </a:spcAft>
              <a:buFont typeface="Arial" panose="020B0604020202020204" pitchFamily="34" charset="0"/>
              <a:buChar char="•"/>
              <a:defRPr/>
            </a:pPr>
            <a:r>
              <a:rPr lang="es-ES" sz="1200" b="0" i="0">
                <a:solidFill>
                  <a:schemeClr val="tx1">
                    <a:lumMod val="50000"/>
                  </a:schemeClr>
                </a:solidFill>
                <a:effectLst/>
                <a:highlight>
                  <a:srgbClr val="FFFF00"/>
                </a:highlight>
                <a:latin typeface="+mj-lt"/>
              </a:rPr>
              <a:t>Igualdad.</a:t>
            </a:r>
            <a:endParaRPr lang="es-ES" sz="1200">
              <a:latin typeface="+mj-lt"/>
              <a:cs typeface="Times New Roman" panose="02020603050405020304" pitchFamily="18" charset="0"/>
            </a:endParaRPr>
          </a:p>
          <a:p>
            <a:endParaRPr lang="es-ES"/>
          </a:p>
        </p:txBody>
      </p:sp>
      <p:sp>
        <p:nvSpPr>
          <p:cNvPr id="4" name="Marcador de número de diapositiva 3"/>
          <p:cNvSpPr>
            <a:spLocks noGrp="1"/>
          </p:cNvSpPr>
          <p:nvPr>
            <p:ph type="sldNum" sz="quarter" idx="5"/>
          </p:nvPr>
        </p:nvSpPr>
        <p:spPr/>
        <p:txBody>
          <a:bodyPr/>
          <a:lstStyle/>
          <a:p>
            <a:fld id="{49480A59-04CD-4DD9-ADD2-945F8BAF6CA2}" type="slidenum">
              <a:rPr lang="en-US" smtClean="0"/>
              <a:pPr/>
              <a:t>8</a:t>
            </a:fld>
            <a:endParaRPr lang="en-US"/>
          </a:p>
        </p:txBody>
      </p:sp>
    </p:spTree>
    <p:extLst>
      <p:ext uri="{BB962C8B-B14F-4D97-AF65-F5344CB8AC3E}">
        <p14:creationId xmlns:p14="http://schemas.microsoft.com/office/powerpoint/2010/main" val="8773094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sz="1800" dirty="0">
                <a:effectLst/>
                <a:latin typeface="Calibri" panose="020F0502020204030204" pitchFamily="34" charset="0"/>
                <a:ea typeface="Calibri" panose="020F0502020204030204" pitchFamily="34" charset="0"/>
              </a:rPr>
              <a:t>Los datos actualizados desde el inicio del confinamiento(14 de marzo de 2021):</a:t>
            </a:r>
          </a:p>
          <a:p>
            <a:pPr marL="342900" lvl="0" indent="-342900">
              <a:buFont typeface="Symbol" panose="05050102010706020507" pitchFamily="18" charset="2"/>
              <a:buChar char=""/>
            </a:pPr>
            <a:r>
              <a:rPr lang="es-ES" sz="1800" dirty="0">
                <a:effectLst/>
                <a:latin typeface="Calibri" panose="020F0502020204030204" pitchFamily="34" charset="0"/>
                <a:ea typeface="Times New Roman" panose="02020603050405020304" pitchFamily="18" charset="0"/>
              </a:rPr>
              <a:t>Usuarios potenciales: 12.675 </a:t>
            </a:r>
            <a:r>
              <a:rPr lang="es-ES" sz="1800" dirty="0">
                <a:effectLst/>
                <a:latin typeface="Wingdings" panose="05000000000000000000" pitchFamily="2" charset="2"/>
                <a:ea typeface="Times New Roman" panose="02020603050405020304" pitchFamily="18" charset="0"/>
              </a:rPr>
              <a:t>à</a:t>
            </a:r>
            <a:r>
              <a:rPr lang="es-ES" sz="1800" dirty="0">
                <a:effectLst/>
                <a:latin typeface="Calibri" panose="020F0502020204030204" pitchFamily="34" charset="0"/>
                <a:ea typeface="Times New Roman" panose="02020603050405020304" pitchFamily="18" charset="0"/>
              </a:rPr>
              <a:t> Han teletrabajado 12.057 usuarios (95% del total).--&gt; Diariamente teletrabajan 1.407 usuarios de media. </a:t>
            </a:r>
            <a:r>
              <a:rPr lang="es-ES" sz="1800" dirty="0">
                <a:effectLst/>
                <a:latin typeface="Wingdings" panose="05000000000000000000" pitchFamily="2" charset="2"/>
                <a:ea typeface="Times New Roman" panose="02020603050405020304" pitchFamily="18" charset="0"/>
              </a:rPr>
              <a:t>à</a:t>
            </a:r>
            <a:r>
              <a:rPr lang="es-ES" sz="1800" dirty="0">
                <a:effectLst/>
                <a:latin typeface="Calibri" panose="020F0502020204030204" pitchFamily="34" charset="0"/>
                <a:ea typeface="Times New Roman" panose="02020603050405020304" pitchFamily="18" charset="0"/>
              </a:rPr>
              <a:t> en total han sido 5 millones de horas</a:t>
            </a:r>
            <a:endParaRPr lang="es-ES" sz="18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s-ES" sz="1800" dirty="0">
                <a:effectLst/>
                <a:latin typeface="Calibri" panose="020F0502020204030204" pitchFamily="34" charset="0"/>
                <a:ea typeface="Times New Roman" panose="02020603050405020304" pitchFamily="18" charset="0"/>
              </a:rPr>
              <a:t>Vistas virtuales: 126.704 </a:t>
            </a:r>
            <a:r>
              <a:rPr lang="es-ES" sz="1800" dirty="0">
                <a:effectLst/>
                <a:latin typeface="Wingdings" panose="05000000000000000000" pitchFamily="2" charset="2"/>
                <a:ea typeface="Times New Roman" panose="02020603050405020304" pitchFamily="18" charset="0"/>
              </a:rPr>
              <a:t>à</a:t>
            </a:r>
            <a:r>
              <a:rPr lang="es-ES" sz="1800" dirty="0">
                <a:effectLst/>
                <a:latin typeface="Calibri" panose="020F0502020204030204" pitchFamily="34" charset="0"/>
                <a:ea typeface="Times New Roman" panose="02020603050405020304" pitchFamily="18" charset="0"/>
              </a:rPr>
              <a:t> 6.335 de media mensual</a:t>
            </a:r>
            <a:endParaRPr lang="es-ES" sz="1800" dirty="0">
              <a:effectLst/>
              <a:latin typeface="Calibri" panose="020F0502020204030204" pitchFamily="34" charset="0"/>
              <a:ea typeface="Calibri" panose="020F0502020204030204" pitchFamily="34" charset="0"/>
            </a:endParaRPr>
          </a:p>
          <a:p>
            <a:pPr marL="342900" lvl="0" indent="-342900">
              <a:buFont typeface="Symbol" panose="05050102010706020507" pitchFamily="18" charset="2"/>
              <a:buChar char=""/>
            </a:pPr>
            <a:r>
              <a:rPr lang="es-ES" sz="1800" dirty="0">
                <a:effectLst/>
                <a:latin typeface="Calibri" panose="020F0502020204030204" pitchFamily="34" charset="0"/>
                <a:ea typeface="Times New Roman" panose="02020603050405020304" pitchFamily="18" charset="0"/>
              </a:rPr>
              <a:t>Horas de videoconferencia: 580.362. </a:t>
            </a:r>
            <a:endParaRPr lang="es-ES" sz="1800" dirty="0">
              <a:effectLst/>
              <a:latin typeface="Calibri" panose="020F0502020204030204" pitchFamily="34" charset="0"/>
              <a:ea typeface="Calibri" panose="020F0502020204030204" pitchFamily="34" charset="0"/>
            </a:endParaRPr>
          </a:p>
          <a:p>
            <a:pPr marL="0" indent="0" algn="l">
              <a:lnSpc>
                <a:spcPct val="150000"/>
              </a:lnSpc>
              <a:buFont typeface="Arial" panose="020B0604020202020204" pitchFamily="34" charset="0"/>
              <a:buNone/>
            </a:pPr>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80A59-04CD-4DD9-ADD2-945F8BAF6CA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5089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49480A59-04CD-4DD9-ADD2-945F8BAF6CA2}" type="slidenum">
              <a:rPr lang="en-US" smtClean="0"/>
              <a:pPr/>
              <a:t>10</a:t>
            </a:fld>
            <a:endParaRPr lang="en-US"/>
          </a:p>
        </p:txBody>
      </p:sp>
    </p:spTree>
    <p:extLst>
      <p:ext uri="{BB962C8B-B14F-4D97-AF65-F5344CB8AC3E}">
        <p14:creationId xmlns:p14="http://schemas.microsoft.com/office/powerpoint/2010/main" val="38035436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ítul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340293EA-65D7-41AF-8C73-8085F2DAF0C2}"/>
              </a:ext>
            </a:extLst>
          </p:cNvPr>
          <p:cNvGraphicFramePr>
            <a:graphicFrameLocks noChangeAspect="1"/>
          </p:cNvGraphicFramePr>
          <p:nvPr userDrawn="1">
            <p:custDataLst>
              <p:tags r:id="rId1"/>
            </p:custDataLst>
            <p:extLst>
              <p:ext uri="{D42A27DB-BD31-4B8C-83A1-F6EECF244321}">
                <p14:modId xmlns:p14="http://schemas.microsoft.com/office/powerpoint/2010/main" val="2374160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3" name="Objeto 2" hidden="1">
                        <a:extLst>
                          <a:ext uri="{FF2B5EF4-FFF2-40B4-BE49-F238E27FC236}">
                            <a16:creationId xmlns:a16="http://schemas.microsoft.com/office/drawing/2014/main" id="{340293EA-65D7-41AF-8C73-8085F2DAF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Imagen 11">
            <a:extLst>
              <a:ext uri="{FF2B5EF4-FFF2-40B4-BE49-F238E27FC236}">
                <a16:creationId xmlns:a16="http://schemas.microsoft.com/office/drawing/2014/main" id="{8240A2E6-9E93-4BD1-A539-DDACC4F9443F}"/>
              </a:ext>
            </a:extLst>
          </p:cNvPr>
          <p:cNvPicPr>
            <a:picLocks noChangeAspect="1"/>
          </p:cNvPicPr>
          <p:nvPr userDrawn="1"/>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l="8284" t="8842"/>
          <a:stretch/>
        </p:blipFill>
        <p:spPr>
          <a:xfrm>
            <a:off x="0" y="-1"/>
            <a:ext cx="9162363" cy="6038199"/>
          </a:xfrm>
          <a:prstGeom prst="rect">
            <a:avLst/>
          </a:prstGeom>
        </p:spPr>
      </p:pic>
      <p:pic>
        <p:nvPicPr>
          <p:cNvPr id="5" name="Imagen 4">
            <a:extLst>
              <a:ext uri="{FF2B5EF4-FFF2-40B4-BE49-F238E27FC236}">
                <a16:creationId xmlns:a16="http://schemas.microsoft.com/office/drawing/2014/main" id="{32A4D6AB-C946-4E48-8AEA-653355D47301}"/>
              </a:ext>
            </a:extLst>
          </p:cNvPr>
          <p:cNvPicPr>
            <a:picLocks noChangeAspect="1"/>
          </p:cNvPicPr>
          <p:nvPr userDrawn="1"/>
        </p:nvPicPr>
        <p:blipFill rotWithShape="1">
          <a:blip r:embed="rId6"/>
          <a:srcRect l="1935" r="2804" b="1086"/>
          <a:stretch/>
        </p:blipFill>
        <p:spPr>
          <a:xfrm>
            <a:off x="-3865" y="1869140"/>
            <a:ext cx="9162363" cy="4988860"/>
          </a:xfrm>
          <a:prstGeom prst="rect">
            <a:avLst/>
          </a:prstGeom>
        </p:spPr>
      </p:pic>
    </p:spTree>
    <p:extLst>
      <p:ext uri="{BB962C8B-B14F-4D97-AF65-F5344CB8AC3E}">
        <p14:creationId xmlns:p14="http://schemas.microsoft.com/office/powerpoint/2010/main" val="2055307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cias Metodología">
    <p:spTree>
      <p:nvGrpSpPr>
        <p:cNvPr id="1" name=""/>
        <p:cNvGrpSpPr/>
        <p:nvPr/>
      </p:nvGrpSpPr>
      <p:grpSpPr>
        <a:xfrm>
          <a:off x="0" y="0"/>
          <a:ext cx="0" cy="0"/>
          <a:chOff x="0" y="0"/>
          <a:chExt cx="0" cy="0"/>
        </a:xfrm>
      </p:grpSpPr>
      <p:graphicFrame>
        <p:nvGraphicFramePr>
          <p:cNvPr id="24" name="Objeto 23" hidden="1">
            <a:extLst>
              <a:ext uri="{FF2B5EF4-FFF2-40B4-BE49-F238E27FC236}">
                <a16:creationId xmlns:a16="http://schemas.microsoft.com/office/drawing/2014/main" id="{81D7397D-C91D-41A4-A686-41955D1D97A2}"/>
              </a:ext>
            </a:extLst>
          </p:cNvPr>
          <p:cNvGraphicFramePr>
            <a:graphicFrameLocks noChangeAspect="1"/>
          </p:cNvGraphicFramePr>
          <p:nvPr userDrawn="1">
            <p:custDataLst>
              <p:tags r:id="rId1"/>
            </p:custDataLst>
            <p:extLst>
              <p:ext uri="{D42A27DB-BD31-4B8C-83A1-F6EECF244321}">
                <p14:modId xmlns:p14="http://schemas.microsoft.com/office/powerpoint/2010/main" val="720589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24" name="Objeto 23" hidden="1">
                        <a:extLst>
                          <a:ext uri="{FF2B5EF4-FFF2-40B4-BE49-F238E27FC236}">
                            <a16:creationId xmlns:a16="http://schemas.microsoft.com/office/drawing/2014/main" id="{81D7397D-C91D-41A4-A686-41955D1D97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Forma libre: forma 20">
            <a:extLst>
              <a:ext uri="{FF2B5EF4-FFF2-40B4-BE49-F238E27FC236}">
                <a16:creationId xmlns:a16="http://schemas.microsoft.com/office/drawing/2014/main" id="{6AEC379F-2A03-4B46-B460-2EBA10916109}"/>
              </a:ext>
            </a:extLst>
          </p:cNvPr>
          <p:cNvSpPr/>
          <p:nvPr userDrawn="1"/>
        </p:nvSpPr>
        <p:spPr>
          <a:xfrm rot="2653743">
            <a:off x="5292922" y="1458956"/>
            <a:ext cx="4593994" cy="263354"/>
          </a:xfrm>
          <a:custGeom>
            <a:avLst/>
            <a:gdLst>
              <a:gd name="connsiteX0" fmla="*/ 1281653 w 4593994"/>
              <a:gd name="connsiteY0" fmla="*/ 0 h 263354"/>
              <a:gd name="connsiteX1" fmla="*/ 4337634 w 4593994"/>
              <a:gd name="connsiteY1" fmla="*/ 0 h 263354"/>
              <a:gd name="connsiteX2" fmla="*/ 4426355 w 4593994"/>
              <a:gd name="connsiteY2" fmla="*/ 91142 h 263354"/>
              <a:gd name="connsiteX3" fmla="*/ 0 w 4593994"/>
              <a:gd name="connsiteY3" fmla="*/ 0 h 263354"/>
              <a:gd name="connsiteX4" fmla="*/ 16 w 4593994"/>
              <a:gd name="connsiteY4" fmla="*/ 0 h 263354"/>
              <a:gd name="connsiteX5" fmla="*/ 4593994 w 4593994"/>
              <a:gd name="connsiteY5" fmla="*/ 263353 h 263354"/>
              <a:gd name="connsiteX6" fmla="*/ 4593994 w 4593994"/>
              <a:gd name="connsiteY6" fmla="*/ 263354 h 26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3994" h="263354">
                <a:moveTo>
                  <a:pt x="1281653" y="0"/>
                </a:moveTo>
                <a:lnTo>
                  <a:pt x="4337634" y="0"/>
                </a:lnTo>
                <a:lnTo>
                  <a:pt x="4426355" y="91142"/>
                </a:lnTo>
                <a:close/>
                <a:moveTo>
                  <a:pt x="0" y="0"/>
                </a:moveTo>
                <a:lnTo>
                  <a:pt x="16" y="0"/>
                </a:lnTo>
                <a:lnTo>
                  <a:pt x="4593994" y="263353"/>
                </a:lnTo>
                <a:lnTo>
                  <a:pt x="4593994" y="263354"/>
                </a:lnTo>
                <a:close/>
              </a:path>
            </a:pathLst>
          </a:custGeom>
          <a:solidFill>
            <a:schemeClr val="accent3">
              <a:lumMod val="20000"/>
              <a:lumOff val="80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2" name="Forma libre: forma 21">
            <a:extLst>
              <a:ext uri="{FF2B5EF4-FFF2-40B4-BE49-F238E27FC236}">
                <a16:creationId xmlns:a16="http://schemas.microsoft.com/office/drawing/2014/main" id="{7E093055-D630-4B43-965E-65CFFA5C718B}"/>
              </a:ext>
            </a:extLst>
          </p:cNvPr>
          <p:cNvSpPr/>
          <p:nvPr userDrawn="1"/>
        </p:nvSpPr>
        <p:spPr>
          <a:xfrm rot="2753350">
            <a:off x="5425189" y="1545628"/>
            <a:ext cx="4456081" cy="167283"/>
          </a:xfrm>
          <a:custGeom>
            <a:avLst/>
            <a:gdLst>
              <a:gd name="connsiteX0" fmla="*/ 39933 w 4456081"/>
              <a:gd name="connsiteY0" fmla="*/ 0 h 167283"/>
              <a:gd name="connsiteX1" fmla="*/ 4283524 w 4456081"/>
              <a:gd name="connsiteY1" fmla="*/ 1 h 167283"/>
              <a:gd name="connsiteX2" fmla="*/ 4456081 w 4456081"/>
              <a:gd name="connsiteY2" fmla="*/ 167283 h 167283"/>
              <a:gd name="connsiteX3" fmla="*/ 0 w 4456081"/>
              <a:gd name="connsiteY3" fmla="*/ 41193 h 167283"/>
            </a:gdLst>
            <a:ahLst/>
            <a:cxnLst>
              <a:cxn ang="0">
                <a:pos x="connsiteX0" y="connsiteY0"/>
              </a:cxn>
              <a:cxn ang="0">
                <a:pos x="connsiteX1" y="connsiteY1"/>
              </a:cxn>
              <a:cxn ang="0">
                <a:pos x="connsiteX2" y="connsiteY2"/>
              </a:cxn>
              <a:cxn ang="0">
                <a:pos x="connsiteX3" y="connsiteY3"/>
              </a:cxn>
            </a:cxnLst>
            <a:rect l="l" t="t" r="r" b="b"/>
            <a:pathLst>
              <a:path w="4456081" h="167283">
                <a:moveTo>
                  <a:pt x="39933" y="0"/>
                </a:moveTo>
                <a:lnTo>
                  <a:pt x="4283524" y="1"/>
                </a:lnTo>
                <a:lnTo>
                  <a:pt x="4456081" y="167283"/>
                </a:lnTo>
                <a:lnTo>
                  <a:pt x="0" y="41193"/>
                </a:lnTo>
                <a:close/>
              </a:path>
            </a:pathLst>
          </a:custGeom>
          <a:solidFill>
            <a:schemeClr val="accent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3" name="Forma libre: forma 22">
            <a:extLst>
              <a:ext uri="{FF2B5EF4-FFF2-40B4-BE49-F238E27FC236}">
                <a16:creationId xmlns:a16="http://schemas.microsoft.com/office/drawing/2014/main" id="{853CFD88-6C94-4DA8-BB32-4139316BEA0B}"/>
              </a:ext>
            </a:extLst>
          </p:cNvPr>
          <p:cNvSpPr/>
          <p:nvPr userDrawn="1"/>
        </p:nvSpPr>
        <p:spPr>
          <a:xfrm rot="2850599">
            <a:off x="-1172268" y="-94272"/>
            <a:ext cx="11248272" cy="7246564"/>
          </a:xfrm>
          <a:custGeom>
            <a:avLst/>
            <a:gdLst>
              <a:gd name="connsiteX0" fmla="*/ 0 w 11248272"/>
              <a:gd name="connsiteY0" fmla="*/ 4538508 h 7246564"/>
              <a:gd name="connsiteX1" fmla="*/ 4157322 w 11248272"/>
              <a:gd name="connsiteY1" fmla="*/ 0 h 7246564"/>
              <a:gd name="connsiteX2" fmla="*/ 8615189 w 11248272"/>
              <a:gd name="connsiteY2" fmla="*/ 0 h 7246564"/>
              <a:gd name="connsiteX3" fmla="*/ 11248272 w 11248272"/>
              <a:gd name="connsiteY3" fmla="*/ 2411933 h 7246564"/>
              <a:gd name="connsiteX4" fmla="*/ 6819699 w 11248272"/>
              <a:gd name="connsiteY4" fmla="*/ 7246564 h 7246564"/>
              <a:gd name="connsiteX5" fmla="*/ 2956357 w 11248272"/>
              <a:gd name="connsiteY5" fmla="*/ 7246564 h 724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8272" h="7246564">
                <a:moveTo>
                  <a:pt x="0" y="4538508"/>
                </a:moveTo>
                <a:lnTo>
                  <a:pt x="4157322" y="0"/>
                </a:lnTo>
                <a:lnTo>
                  <a:pt x="8615189" y="0"/>
                </a:lnTo>
                <a:lnTo>
                  <a:pt x="11248272" y="2411933"/>
                </a:lnTo>
                <a:lnTo>
                  <a:pt x="6819699" y="7246564"/>
                </a:lnTo>
                <a:lnTo>
                  <a:pt x="2956357" y="7246564"/>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5" name="Forma libre: forma 24">
            <a:extLst>
              <a:ext uri="{FF2B5EF4-FFF2-40B4-BE49-F238E27FC236}">
                <a16:creationId xmlns:a16="http://schemas.microsoft.com/office/drawing/2014/main" id="{2D3BD9F0-C363-4209-83DE-FBC3B3FCF895}"/>
              </a:ext>
            </a:extLst>
          </p:cNvPr>
          <p:cNvSpPr/>
          <p:nvPr userDrawn="1"/>
        </p:nvSpPr>
        <p:spPr>
          <a:xfrm rot="2850599">
            <a:off x="-2432127" y="2796095"/>
            <a:ext cx="9663014" cy="3076225"/>
          </a:xfrm>
          <a:custGeom>
            <a:avLst/>
            <a:gdLst>
              <a:gd name="connsiteX0" fmla="*/ 0 w 9663014"/>
              <a:gd name="connsiteY0" fmla="*/ 395965 h 3076225"/>
              <a:gd name="connsiteX1" fmla="*/ 34391 w 9663014"/>
              <a:gd name="connsiteY1" fmla="*/ 358421 h 3076225"/>
              <a:gd name="connsiteX2" fmla="*/ 9663014 w 9663014"/>
              <a:gd name="connsiteY2" fmla="*/ 0 h 3076225"/>
              <a:gd name="connsiteX3" fmla="*/ 6845160 w 9663014"/>
              <a:gd name="connsiteY3" fmla="*/ 3076224 h 3076225"/>
              <a:gd name="connsiteX4" fmla="*/ 2926014 w 9663014"/>
              <a:gd name="connsiteY4" fmla="*/ 3076225 h 30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3014" h="3076225">
                <a:moveTo>
                  <a:pt x="0" y="395965"/>
                </a:moveTo>
                <a:lnTo>
                  <a:pt x="34391" y="358421"/>
                </a:lnTo>
                <a:lnTo>
                  <a:pt x="9663014" y="0"/>
                </a:lnTo>
                <a:lnTo>
                  <a:pt x="6845160" y="3076224"/>
                </a:lnTo>
                <a:lnTo>
                  <a:pt x="2926014" y="3076225"/>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6" name="Slide Number Placeholder 17">
            <a:extLst>
              <a:ext uri="{FF2B5EF4-FFF2-40B4-BE49-F238E27FC236}">
                <a16:creationId xmlns:a16="http://schemas.microsoft.com/office/drawing/2014/main" id="{BC0D246B-7636-4A12-894E-E05EAF76B10B}"/>
              </a:ext>
            </a:extLst>
          </p:cNvPr>
          <p:cNvSpPr>
            <a:spLocks noGrp="1"/>
          </p:cNvSpPr>
          <p:nvPr>
            <p:ph type="sldNum" sz="quarter" idx="4"/>
          </p:nvPr>
        </p:nvSpPr>
        <p:spPr>
          <a:xfrm>
            <a:off x="8564716" y="6309320"/>
            <a:ext cx="360040" cy="365125"/>
          </a:xfrm>
          <a:prstGeom prst="rect">
            <a:avLst/>
          </a:prstGeom>
        </p:spPr>
        <p:txBody>
          <a:bodyPr vert="horz" lIns="0" tIns="0" rIns="0" bIns="0" anchor="b"/>
          <a:lstStyle>
            <a:lvl1pPr algn="r" eaLnBrk="1" latinLnBrk="0" hangingPunct="1">
              <a:defRPr kumimoji="0" sz="1050">
                <a:solidFill>
                  <a:schemeClr val="tx1"/>
                </a:solidFill>
                <a:latin typeface="Arial" panose="020B0604020202020204" pitchFamily="34" charset="0"/>
                <a:cs typeface="Arial" panose="020B0604020202020204" pitchFamily="34" charset="0"/>
              </a:defRPr>
            </a:lvl1pPr>
          </a:lstStyle>
          <a:p>
            <a:fld id="{BCECDAE5-3B81-401B-AAD2-D1C88E068655}" type="slidenum">
              <a:rPr lang="es-ES" smtClean="0"/>
              <a:pPr/>
              <a:t>‹Nº›</a:t>
            </a:fld>
            <a:endParaRPr lang="es-ES"/>
          </a:p>
        </p:txBody>
      </p:sp>
    </p:spTree>
    <p:extLst>
      <p:ext uri="{BB962C8B-B14F-4D97-AF65-F5344CB8AC3E}">
        <p14:creationId xmlns:p14="http://schemas.microsoft.com/office/powerpoint/2010/main" val="320056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cias Estrategia">
    <p:spTree>
      <p:nvGrpSpPr>
        <p:cNvPr id="1" name=""/>
        <p:cNvGrpSpPr/>
        <p:nvPr/>
      </p:nvGrpSpPr>
      <p:grpSpPr>
        <a:xfrm>
          <a:off x="0" y="0"/>
          <a:ext cx="0" cy="0"/>
          <a:chOff x="0" y="0"/>
          <a:chExt cx="0" cy="0"/>
        </a:xfrm>
      </p:grpSpPr>
      <p:graphicFrame>
        <p:nvGraphicFramePr>
          <p:cNvPr id="24" name="Objeto 23" hidden="1">
            <a:extLst>
              <a:ext uri="{FF2B5EF4-FFF2-40B4-BE49-F238E27FC236}">
                <a16:creationId xmlns:a16="http://schemas.microsoft.com/office/drawing/2014/main" id="{81D7397D-C91D-41A4-A686-41955D1D97A2}"/>
              </a:ext>
            </a:extLst>
          </p:cNvPr>
          <p:cNvGraphicFramePr>
            <a:graphicFrameLocks noChangeAspect="1"/>
          </p:cNvGraphicFramePr>
          <p:nvPr userDrawn="1">
            <p:custDataLst>
              <p:tags r:id="rId1"/>
            </p:custDataLst>
            <p:extLst>
              <p:ext uri="{D42A27DB-BD31-4B8C-83A1-F6EECF244321}">
                <p14:modId xmlns:p14="http://schemas.microsoft.com/office/powerpoint/2010/main" val="2934623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24" name="Objeto 23" hidden="1">
                        <a:extLst>
                          <a:ext uri="{FF2B5EF4-FFF2-40B4-BE49-F238E27FC236}">
                            <a16:creationId xmlns:a16="http://schemas.microsoft.com/office/drawing/2014/main" id="{81D7397D-C91D-41A4-A686-41955D1D97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Forma libre: forma 20">
            <a:extLst>
              <a:ext uri="{FF2B5EF4-FFF2-40B4-BE49-F238E27FC236}">
                <a16:creationId xmlns:a16="http://schemas.microsoft.com/office/drawing/2014/main" id="{A76A75D0-3E36-4296-A550-8B197C95C576}"/>
              </a:ext>
            </a:extLst>
          </p:cNvPr>
          <p:cNvSpPr/>
          <p:nvPr userDrawn="1"/>
        </p:nvSpPr>
        <p:spPr>
          <a:xfrm rot="2653743">
            <a:off x="5292922" y="1458956"/>
            <a:ext cx="4593994" cy="263354"/>
          </a:xfrm>
          <a:custGeom>
            <a:avLst/>
            <a:gdLst>
              <a:gd name="connsiteX0" fmla="*/ 1281653 w 4593994"/>
              <a:gd name="connsiteY0" fmla="*/ 0 h 263354"/>
              <a:gd name="connsiteX1" fmla="*/ 4337634 w 4593994"/>
              <a:gd name="connsiteY1" fmla="*/ 0 h 263354"/>
              <a:gd name="connsiteX2" fmla="*/ 4426355 w 4593994"/>
              <a:gd name="connsiteY2" fmla="*/ 91142 h 263354"/>
              <a:gd name="connsiteX3" fmla="*/ 0 w 4593994"/>
              <a:gd name="connsiteY3" fmla="*/ 0 h 263354"/>
              <a:gd name="connsiteX4" fmla="*/ 16 w 4593994"/>
              <a:gd name="connsiteY4" fmla="*/ 0 h 263354"/>
              <a:gd name="connsiteX5" fmla="*/ 4593994 w 4593994"/>
              <a:gd name="connsiteY5" fmla="*/ 263353 h 263354"/>
              <a:gd name="connsiteX6" fmla="*/ 4593994 w 4593994"/>
              <a:gd name="connsiteY6" fmla="*/ 263354 h 26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3994" h="263354">
                <a:moveTo>
                  <a:pt x="1281653" y="0"/>
                </a:moveTo>
                <a:lnTo>
                  <a:pt x="4337634" y="0"/>
                </a:lnTo>
                <a:lnTo>
                  <a:pt x="4426355" y="91142"/>
                </a:lnTo>
                <a:close/>
                <a:moveTo>
                  <a:pt x="0" y="0"/>
                </a:moveTo>
                <a:lnTo>
                  <a:pt x="16" y="0"/>
                </a:lnTo>
                <a:lnTo>
                  <a:pt x="4593994" y="263353"/>
                </a:lnTo>
                <a:lnTo>
                  <a:pt x="4593994" y="263354"/>
                </a:lnTo>
                <a:close/>
              </a:path>
            </a:pathLst>
          </a:custGeom>
          <a:solidFill>
            <a:schemeClr val="accent3">
              <a:lumMod val="20000"/>
              <a:lumOff val="80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2" name="Forma libre: forma 21">
            <a:extLst>
              <a:ext uri="{FF2B5EF4-FFF2-40B4-BE49-F238E27FC236}">
                <a16:creationId xmlns:a16="http://schemas.microsoft.com/office/drawing/2014/main" id="{ACE9EFE1-5F51-48F0-93C4-7B85AA4FD759}"/>
              </a:ext>
            </a:extLst>
          </p:cNvPr>
          <p:cNvSpPr/>
          <p:nvPr userDrawn="1"/>
        </p:nvSpPr>
        <p:spPr>
          <a:xfrm rot="2753350">
            <a:off x="5425189" y="1545628"/>
            <a:ext cx="4456081" cy="167283"/>
          </a:xfrm>
          <a:custGeom>
            <a:avLst/>
            <a:gdLst>
              <a:gd name="connsiteX0" fmla="*/ 39933 w 4456081"/>
              <a:gd name="connsiteY0" fmla="*/ 0 h 167283"/>
              <a:gd name="connsiteX1" fmla="*/ 4283524 w 4456081"/>
              <a:gd name="connsiteY1" fmla="*/ 1 h 167283"/>
              <a:gd name="connsiteX2" fmla="*/ 4456081 w 4456081"/>
              <a:gd name="connsiteY2" fmla="*/ 167283 h 167283"/>
              <a:gd name="connsiteX3" fmla="*/ 0 w 4456081"/>
              <a:gd name="connsiteY3" fmla="*/ 41193 h 167283"/>
            </a:gdLst>
            <a:ahLst/>
            <a:cxnLst>
              <a:cxn ang="0">
                <a:pos x="connsiteX0" y="connsiteY0"/>
              </a:cxn>
              <a:cxn ang="0">
                <a:pos x="connsiteX1" y="connsiteY1"/>
              </a:cxn>
              <a:cxn ang="0">
                <a:pos x="connsiteX2" y="connsiteY2"/>
              </a:cxn>
              <a:cxn ang="0">
                <a:pos x="connsiteX3" y="connsiteY3"/>
              </a:cxn>
            </a:cxnLst>
            <a:rect l="l" t="t" r="r" b="b"/>
            <a:pathLst>
              <a:path w="4456081" h="167283">
                <a:moveTo>
                  <a:pt x="39933" y="0"/>
                </a:moveTo>
                <a:lnTo>
                  <a:pt x="4283524" y="1"/>
                </a:lnTo>
                <a:lnTo>
                  <a:pt x="4456081" y="167283"/>
                </a:lnTo>
                <a:lnTo>
                  <a:pt x="0" y="41193"/>
                </a:lnTo>
                <a:close/>
              </a:path>
            </a:pathLst>
          </a:custGeom>
          <a:solidFill>
            <a:schemeClr val="accent4">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3" name="Forma libre: forma 22">
            <a:extLst>
              <a:ext uri="{FF2B5EF4-FFF2-40B4-BE49-F238E27FC236}">
                <a16:creationId xmlns:a16="http://schemas.microsoft.com/office/drawing/2014/main" id="{7DD9D39E-1B41-42CE-BCF4-26D2CB8FD08B}"/>
              </a:ext>
            </a:extLst>
          </p:cNvPr>
          <p:cNvSpPr/>
          <p:nvPr userDrawn="1"/>
        </p:nvSpPr>
        <p:spPr>
          <a:xfrm rot="2850599">
            <a:off x="-1172268" y="-94272"/>
            <a:ext cx="11248272" cy="7246564"/>
          </a:xfrm>
          <a:custGeom>
            <a:avLst/>
            <a:gdLst>
              <a:gd name="connsiteX0" fmla="*/ 0 w 11248272"/>
              <a:gd name="connsiteY0" fmla="*/ 4538508 h 7246564"/>
              <a:gd name="connsiteX1" fmla="*/ 4157322 w 11248272"/>
              <a:gd name="connsiteY1" fmla="*/ 0 h 7246564"/>
              <a:gd name="connsiteX2" fmla="*/ 8615189 w 11248272"/>
              <a:gd name="connsiteY2" fmla="*/ 0 h 7246564"/>
              <a:gd name="connsiteX3" fmla="*/ 11248272 w 11248272"/>
              <a:gd name="connsiteY3" fmla="*/ 2411933 h 7246564"/>
              <a:gd name="connsiteX4" fmla="*/ 6819699 w 11248272"/>
              <a:gd name="connsiteY4" fmla="*/ 7246564 h 7246564"/>
              <a:gd name="connsiteX5" fmla="*/ 2956357 w 11248272"/>
              <a:gd name="connsiteY5" fmla="*/ 7246564 h 724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8272" h="7246564">
                <a:moveTo>
                  <a:pt x="0" y="4538508"/>
                </a:moveTo>
                <a:lnTo>
                  <a:pt x="4157322" y="0"/>
                </a:lnTo>
                <a:lnTo>
                  <a:pt x="8615189" y="0"/>
                </a:lnTo>
                <a:lnTo>
                  <a:pt x="11248272" y="2411933"/>
                </a:lnTo>
                <a:lnTo>
                  <a:pt x="6819699" y="7246564"/>
                </a:lnTo>
                <a:lnTo>
                  <a:pt x="2956357" y="7246564"/>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5" name="Forma libre: forma 24">
            <a:extLst>
              <a:ext uri="{FF2B5EF4-FFF2-40B4-BE49-F238E27FC236}">
                <a16:creationId xmlns:a16="http://schemas.microsoft.com/office/drawing/2014/main" id="{6FF5EE2B-C274-49E4-87E9-6D841FE1D407}"/>
              </a:ext>
            </a:extLst>
          </p:cNvPr>
          <p:cNvSpPr/>
          <p:nvPr userDrawn="1"/>
        </p:nvSpPr>
        <p:spPr>
          <a:xfrm rot="2850599">
            <a:off x="-2432127" y="2796095"/>
            <a:ext cx="9663014" cy="3076225"/>
          </a:xfrm>
          <a:custGeom>
            <a:avLst/>
            <a:gdLst>
              <a:gd name="connsiteX0" fmla="*/ 0 w 9663014"/>
              <a:gd name="connsiteY0" fmla="*/ 395965 h 3076225"/>
              <a:gd name="connsiteX1" fmla="*/ 34391 w 9663014"/>
              <a:gd name="connsiteY1" fmla="*/ 358421 h 3076225"/>
              <a:gd name="connsiteX2" fmla="*/ 9663014 w 9663014"/>
              <a:gd name="connsiteY2" fmla="*/ 0 h 3076225"/>
              <a:gd name="connsiteX3" fmla="*/ 6845160 w 9663014"/>
              <a:gd name="connsiteY3" fmla="*/ 3076224 h 3076225"/>
              <a:gd name="connsiteX4" fmla="*/ 2926014 w 9663014"/>
              <a:gd name="connsiteY4" fmla="*/ 3076225 h 30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3014" h="3076225">
                <a:moveTo>
                  <a:pt x="0" y="395965"/>
                </a:moveTo>
                <a:lnTo>
                  <a:pt x="34391" y="358421"/>
                </a:lnTo>
                <a:lnTo>
                  <a:pt x="9663014" y="0"/>
                </a:lnTo>
                <a:lnTo>
                  <a:pt x="6845160" y="3076224"/>
                </a:lnTo>
                <a:lnTo>
                  <a:pt x="2926014" y="3076225"/>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6" name="Slide Number Placeholder 17">
            <a:extLst>
              <a:ext uri="{FF2B5EF4-FFF2-40B4-BE49-F238E27FC236}">
                <a16:creationId xmlns:a16="http://schemas.microsoft.com/office/drawing/2014/main" id="{9DD65B6A-50AB-4AAC-A694-334B4D72C7A7}"/>
              </a:ext>
            </a:extLst>
          </p:cNvPr>
          <p:cNvSpPr>
            <a:spLocks noGrp="1"/>
          </p:cNvSpPr>
          <p:nvPr>
            <p:ph type="sldNum" sz="quarter" idx="4"/>
          </p:nvPr>
        </p:nvSpPr>
        <p:spPr>
          <a:xfrm>
            <a:off x="8564716" y="6309320"/>
            <a:ext cx="360040" cy="365125"/>
          </a:xfrm>
          <a:prstGeom prst="rect">
            <a:avLst/>
          </a:prstGeom>
        </p:spPr>
        <p:txBody>
          <a:bodyPr vert="horz" lIns="0" tIns="0" rIns="0" bIns="0" anchor="b"/>
          <a:lstStyle>
            <a:lvl1pPr algn="r" eaLnBrk="1" latinLnBrk="0" hangingPunct="1">
              <a:defRPr kumimoji="0" sz="1050">
                <a:solidFill>
                  <a:schemeClr val="tx1"/>
                </a:solidFill>
                <a:latin typeface="Arial" panose="020B0604020202020204" pitchFamily="34" charset="0"/>
                <a:cs typeface="Arial" panose="020B0604020202020204" pitchFamily="34" charset="0"/>
              </a:defRPr>
            </a:lvl1pPr>
          </a:lstStyle>
          <a:p>
            <a:fld id="{BCECDAE5-3B81-401B-AAD2-D1C88E068655}" type="slidenum">
              <a:rPr lang="es-ES" smtClean="0"/>
              <a:pPr/>
              <a:t>‹Nº›</a:t>
            </a:fld>
            <a:endParaRPr lang="es-ES"/>
          </a:p>
        </p:txBody>
      </p:sp>
    </p:spTree>
    <p:extLst>
      <p:ext uri="{BB962C8B-B14F-4D97-AF65-F5344CB8AC3E}">
        <p14:creationId xmlns:p14="http://schemas.microsoft.com/office/powerpoint/2010/main" val="33458258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ido">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12"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p:txBody>
      </p:sp>
      <p:sp>
        <p:nvSpPr>
          <p:cNvPr id="13"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4"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6"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0" name="Forma libre: forma 40">
            <a:extLst>
              <a:ext uri="{FF2B5EF4-FFF2-40B4-BE49-F238E27FC236}">
                <a16:creationId xmlns:a16="http://schemas.microsoft.com/office/drawing/2014/main" id="{2D43060D-A98B-464D-A050-76EB4A80CBC5}"/>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1" name="Título 1">
            <a:extLst>
              <a:ext uri="{FF2B5EF4-FFF2-40B4-BE49-F238E27FC236}">
                <a16:creationId xmlns:a16="http://schemas.microsoft.com/office/drawing/2014/main" id="{8E6A21A6-EB96-426D-9233-3E6A43A133E1}"/>
              </a:ext>
            </a:extLst>
          </p:cNvPr>
          <p:cNvSpPr>
            <a:spLocks noGrp="1"/>
          </p:cNvSpPr>
          <p:nvPr>
            <p:ph type="title" hasCustomPrompt="1"/>
          </p:nvPr>
        </p:nvSpPr>
        <p:spPr>
          <a:xfrm>
            <a:off x="59634" y="-274036"/>
            <a:ext cx="8865122" cy="1143000"/>
          </a:xfrm>
        </p:spPr>
        <p:txBody>
          <a:bodyPr>
            <a:normAutofit/>
          </a:bodyPr>
          <a:lstStyle>
            <a:lvl1pPr algn="l">
              <a:defRPr sz="2000" b="1">
                <a:solidFill>
                  <a:schemeClr val="bg1"/>
                </a:solidFill>
              </a:defRPr>
            </a:lvl1pPr>
          </a:lstStyle>
          <a:p>
            <a:r>
              <a:rPr lang="es-ES"/>
              <a:t>HAGA CLIC PARA MODIFICAR EL ESTILO DE TÍTULO DEL PATRÓN</a:t>
            </a:r>
          </a:p>
        </p:txBody>
      </p:sp>
      <p:sp>
        <p:nvSpPr>
          <p:cNvPr id="22" name="5 Marcador de número de diapositiva">
            <a:extLst>
              <a:ext uri="{FF2B5EF4-FFF2-40B4-BE49-F238E27FC236}">
                <a16:creationId xmlns:a16="http://schemas.microsoft.com/office/drawing/2014/main" id="{ACDDCC9B-ADD3-418D-B1D5-372168D1E008}"/>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a:p>
        </p:txBody>
      </p:sp>
    </p:spTree>
    <p:extLst>
      <p:ext uri="{BB962C8B-B14F-4D97-AF65-F5344CB8AC3E}">
        <p14:creationId xmlns:p14="http://schemas.microsoft.com/office/powerpoint/2010/main" val="22738795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Sección">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3996134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3F74CFE-774D-43F8-BCA3-F1244456F2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2000" b="1" i="0" baseline="0">
              <a:latin typeface="Calibri" panose="020F0502020204030204" pitchFamily="34" charset="0"/>
              <a:ea typeface="+mj-ea"/>
              <a:cs typeface="+mj-cs"/>
              <a:sym typeface="Calibri" panose="020F0502020204030204" pitchFamily="34" charset="0"/>
            </a:endParaRPr>
          </a:p>
        </p:txBody>
      </p:sp>
      <p:sp>
        <p:nvSpPr>
          <p:cNvPr id="9"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11"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p:txBody>
      </p:sp>
      <p:sp>
        <p:nvSpPr>
          <p:cNvPr id="37"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8"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9"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Título 1">
            <a:extLst>
              <a:ext uri="{FF2B5EF4-FFF2-40B4-BE49-F238E27FC236}">
                <a16:creationId xmlns:a16="http://schemas.microsoft.com/office/drawing/2014/main" id="{8E6A21A6-EB96-426D-9233-3E6A43A133E1}"/>
              </a:ext>
            </a:extLst>
          </p:cNvPr>
          <p:cNvSpPr>
            <a:spLocks noGrp="1"/>
          </p:cNvSpPr>
          <p:nvPr>
            <p:ph type="title" hasCustomPrompt="1"/>
          </p:nvPr>
        </p:nvSpPr>
        <p:spPr>
          <a:xfrm>
            <a:off x="59634" y="-274036"/>
            <a:ext cx="8865122" cy="1143000"/>
          </a:xfrm>
        </p:spPr>
        <p:txBody>
          <a:bodyPr>
            <a:normAutofit/>
          </a:bodyPr>
          <a:lstStyle>
            <a:lvl1pPr algn="l">
              <a:defRPr sz="2000" b="1">
                <a:solidFill>
                  <a:schemeClr val="bg1"/>
                </a:solidFill>
              </a:defRPr>
            </a:lvl1pPr>
          </a:lstStyle>
          <a:p>
            <a:r>
              <a:rPr lang="es-ES"/>
              <a:t>HAGA CLIC PARA MODIFICAR EL ESTILO DE TÍTULO DEL PATRÓN</a:t>
            </a:r>
          </a:p>
        </p:txBody>
      </p:sp>
      <p:sp>
        <p:nvSpPr>
          <p:cNvPr id="21" name="5 Marcador de número de diapositiva">
            <a:extLst>
              <a:ext uri="{FF2B5EF4-FFF2-40B4-BE49-F238E27FC236}">
                <a16:creationId xmlns:a16="http://schemas.microsoft.com/office/drawing/2014/main" id="{DF893BE7-590E-4A33-B8B8-FD3D8B2361D8}"/>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a:p>
        </p:txBody>
      </p:sp>
      <p:pic>
        <p:nvPicPr>
          <p:cNvPr id="4" name="Imagen 3">
            <a:extLst>
              <a:ext uri="{FF2B5EF4-FFF2-40B4-BE49-F238E27FC236}">
                <a16:creationId xmlns:a16="http://schemas.microsoft.com/office/drawing/2014/main" id="{BCD1D326-5B42-4A8E-B808-444EFE2ACBAF}"/>
              </a:ext>
            </a:extLst>
          </p:cNvPr>
          <p:cNvPicPr>
            <a:picLocks noChangeAspect="1"/>
          </p:cNvPicPr>
          <p:nvPr userDrawn="1"/>
        </p:nvPicPr>
        <p:blipFill rotWithShape="1">
          <a:blip r:embed="rId6"/>
          <a:srcRect t="13571" r="20820"/>
          <a:stretch/>
        </p:blipFill>
        <p:spPr>
          <a:xfrm>
            <a:off x="7903394" y="0"/>
            <a:ext cx="1240606" cy="1243525"/>
          </a:xfrm>
          <a:prstGeom prst="rect">
            <a:avLst/>
          </a:prstGeom>
        </p:spPr>
      </p:pic>
      <p:pic>
        <p:nvPicPr>
          <p:cNvPr id="14" name="Imagen 13">
            <a:extLst>
              <a:ext uri="{FF2B5EF4-FFF2-40B4-BE49-F238E27FC236}">
                <a16:creationId xmlns:a16="http://schemas.microsoft.com/office/drawing/2014/main" id="{53321D28-44E0-4009-A1F2-B4B8EBD14662}"/>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3511224" y="6466607"/>
            <a:ext cx="2121552" cy="303078"/>
          </a:xfrm>
          <a:prstGeom prst="rect">
            <a:avLst/>
          </a:prstGeom>
        </p:spPr>
      </p:pic>
    </p:spTree>
    <p:extLst>
      <p:ext uri="{BB962C8B-B14F-4D97-AF65-F5344CB8AC3E}">
        <p14:creationId xmlns:p14="http://schemas.microsoft.com/office/powerpoint/2010/main" val="18879613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Sección">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293115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3F74CFE-774D-43F8-BCA3-F1244456F2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2000" b="1" i="0" baseline="0">
              <a:latin typeface="Calibri" panose="020F0502020204030204" pitchFamily="34" charset="0"/>
              <a:ea typeface="+mj-ea"/>
              <a:cs typeface="+mj-cs"/>
              <a:sym typeface="Calibri" panose="020F0502020204030204" pitchFamily="34" charset="0"/>
            </a:endParaRPr>
          </a:p>
        </p:txBody>
      </p:sp>
      <p:sp>
        <p:nvSpPr>
          <p:cNvPr id="9"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11"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p:txBody>
      </p:sp>
      <p:sp>
        <p:nvSpPr>
          <p:cNvPr id="21" name="5 Marcador de número de diapositiva">
            <a:extLst>
              <a:ext uri="{FF2B5EF4-FFF2-40B4-BE49-F238E27FC236}">
                <a16:creationId xmlns:a16="http://schemas.microsoft.com/office/drawing/2014/main" id="{DF893BE7-590E-4A33-B8B8-FD3D8B2361D8}"/>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a:p>
        </p:txBody>
      </p:sp>
      <p:pic>
        <p:nvPicPr>
          <p:cNvPr id="13" name="Imagen 12">
            <a:extLst>
              <a:ext uri="{FF2B5EF4-FFF2-40B4-BE49-F238E27FC236}">
                <a16:creationId xmlns:a16="http://schemas.microsoft.com/office/drawing/2014/main" id="{E0FFA362-2B11-4618-ABEB-FBBDD235C89C}"/>
              </a:ext>
            </a:extLst>
          </p:cNvPr>
          <p:cNvPicPr>
            <a:picLocks noChangeAspect="1"/>
          </p:cNvPicPr>
          <p:nvPr userDrawn="1"/>
        </p:nvPicPr>
        <p:blipFill>
          <a:blip r:embed="rId6"/>
          <a:stretch>
            <a:fillRect/>
          </a:stretch>
        </p:blipFill>
        <p:spPr>
          <a:xfrm>
            <a:off x="-15873" y="-33835"/>
            <a:ext cx="9159873" cy="774424"/>
          </a:xfrm>
          <a:prstGeom prst="rect">
            <a:avLst/>
          </a:prstGeom>
        </p:spPr>
      </p:pic>
      <p:pic>
        <p:nvPicPr>
          <p:cNvPr id="10" name="Imagen 9">
            <a:extLst>
              <a:ext uri="{FF2B5EF4-FFF2-40B4-BE49-F238E27FC236}">
                <a16:creationId xmlns:a16="http://schemas.microsoft.com/office/drawing/2014/main" id="{94290EC4-A891-406E-995F-CF9568F66B8E}"/>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3511224" y="6466607"/>
            <a:ext cx="2121552" cy="303078"/>
          </a:xfrm>
          <a:prstGeom prst="rect">
            <a:avLst/>
          </a:prstGeom>
        </p:spPr>
      </p:pic>
    </p:spTree>
    <p:extLst>
      <p:ext uri="{BB962C8B-B14F-4D97-AF65-F5344CB8AC3E}">
        <p14:creationId xmlns:p14="http://schemas.microsoft.com/office/powerpoint/2010/main" val="28058159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ítulo">
    <p:spTree>
      <p:nvGrpSpPr>
        <p:cNvPr id="1" name=""/>
        <p:cNvGrpSpPr/>
        <p:nvPr/>
      </p:nvGrpSpPr>
      <p:grpSpPr>
        <a:xfrm>
          <a:off x="0" y="0"/>
          <a:ext cx="0" cy="0"/>
          <a:chOff x="0" y="0"/>
          <a:chExt cx="0" cy="0"/>
        </a:xfrm>
      </p:grpSpPr>
      <p:pic>
        <p:nvPicPr>
          <p:cNvPr id="4" name="Imagen 3" descr="Un reloj en la fachada de un edificio de ladrillo&#10;&#10;Descripción generada automáticamente">
            <a:extLst>
              <a:ext uri="{FF2B5EF4-FFF2-40B4-BE49-F238E27FC236}">
                <a16:creationId xmlns:a16="http://schemas.microsoft.com/office/drawing/2014/main" id="{CF60F82E-EE72-4FCF-9CE4-A848E1ED4E4F}"/>
              </a:ext>
            </a:extLst>
          </p:cNvPr>
          <p:cNvPicPr>
            <a:picLocks noChangeAspect="1"/>
          </p:cNvPicPr>
          <p:nvPr userDrawn="1"/>
        </p:nvPicPr>
        <p:blipFill rotWithShape="1">
          <a:blip r:embed="rId3" cstate="print">
            <a:duotone>
              <a:schemeClr val="bg2">
                <a:shade val="45000"/>
                <a:satMod val="135000"/>
              </a:schemeClr>
              <a:prstClr val="white"/>
            </a:duotone>
            <a:extLst>
              <a:ext uri="{28A0092B-C50C-407E-A947-70E740481C1C}">
                <a14:useLocalDpi xmlns:a14="http://schemas.microsoft.com/office/drawing/2010/main" val="0"/>
              </a:ext>
            </a:extLst>
          </a:blip>
          <a:srcRect t="13250"/>
          <a:stretch/>
        </p:blipFill>
        <p:spPr>
          <a:xfrm>
            <a:off x="0" y="0"/>
            <a:ext cx="9144000" cy="5949280"/>
          </a:xfrm>
          <a:prstGeom prst="rect">
            <a:avLst/>
          </a:prstGeom>
        </p:spPr>
      </p:pic>
      <p:graphicFrame>
        <p:nvGraphicFramePr>
          <p:cNvPr id="3" name="Objeto 2" hidden="1">
            <a:extLst>
              <a:ext uri="{FF2B5EF4-FFF2-40B4-BE49-F238E27FC236}">
                <a16:creationId xmlns:a16="http://schemas.microsoft.com/office/drawing/2014/main" id="{340293EA-65D7-41AF-8C73-8085F2DAF0C2}"/>
              </a:ext>
            </a:extLst>
          </p:cNvPr>
          <p:cNvGraphicFramePr>
            <a:graphicFrameLocks noChangeAspect="1"/>
          </p:cNvGraphicFramePr>
          <p:nvPr userDrawn="1">
            <p:custDataLst>
              <p:tags r:id="rId1"/>
            </p:custDataLst>
            <p:extLst>
              <p:ext uri="{D42A27DB-BD31-4B8C-83A1-F6EECF244321}">
                <p14:modId xmlns:p14="http://schemas.microsoft.com/office/powerpoint/2010/main" val="19175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3" name="Objeto 2" hidden="1">
                        <a:extLst>
                          <a:ext uri="{FF2B5EF4-FFF2-40B4-BE49-F238E27FC236}">
                            <a16:creationId xmlns:a16="http://schemas.microsoft.com/office/drawing/2014/main" id="{340293EA-65D7-41AF-8C73-8085F2DAF0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Forma libre: forma 44">
            <a:extLst>
              <a:ext uri="{FF2B5EF4-FFF2-40B4-BE49-F238E27FC236}">
                <a16:creationId xmlns:a16="http://schemas.microsoft.com/office/drawing/2014/main" id="{013A9F5B-41A0-4BCC-805E-538DF23EAF55}"/>
              </a:ext>
            </a:extLst>
          </p:cNvPr>
          <p:cNvSpPr/>
          <p:nvPr userDrawn="1"/>
        </p:nvSpPr>
        <p:spPr>
          <a:xfrm rot="738492">
            <a:off x="-442574" y="3025343"/>
            <a:ext cx="8368685" cy="3249959"/>
          </a:xfrm>
          <a:custGeom>
            <a:avLst/>
            <a:gdLst>
              <a:gd name="connsiteX0" fmla="*/ 462155 w 8368685"/>
              <a:gd name="connsiteY0" fmla="*/ 2118176 h 3249959"/>
              <a:gd name="connsiteX1" fmla="*/ 709093 w 8368685"/>
              <a:gd name="connsiteY1" fmla="*/ 3249959 h 3249959"/>
              <a:gd name="connsiteX2" fmla="*/ 709093 w 8368685"/>
              <a:gd name="connsiteY2" fmla="*/ 3249959 h 3249959"/>
              <a:gd name="connsiteX3" fmla="*/ 0 w 8368685"/>
              <a:gd name="connsiteY3" fmla="*/ 0 h 3249959"/>
              <a:gd name="connsiteX4" fmla="*/ 8368685 w 8368685"/>
              <a:gd name="connsiteY4" fmla="*/ 0 h 3249959"/>
              <a:gd name="connsiteX5" fmla="*/ 111668 w 8368685"/>
              <a:gd name="connsiteY5" fmla="*/ 511803 h 324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68685" h="3249959">
                <a:moveTo>
                  <a:pt x="462155" y="2118176"/>
                </a:moveTo>
                <a:lnTo>
                  <a:pt x="709093" y="3249959"/>
                </a:lnTo>
                <a:lnTo>
                  <a:pt x="709093" y="3249959"/>
                </a:lnTo>
                <a:close/>
                <a:moveTo>
                  <a:pt x="0" y="0"/>
                </a:moveTo>
                <a:lnTo>
                  <a:pt x="8368685" y="0"/>
                </a:lnTo>
                <a:lnTo>
                  <a:pt x="111668" y="511803"/>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4" name="Forma libre: forma 43">
            <a:extLst>
              <a:ext uri="{FF2B5EF4-FFF2-40B4-BE49-F238E27FC236}">
                <a16:creationId xmlns:a16="http://schemas.microsoft.com/office/drawing/2014/main" id="{366CA665-854E-4CC1-BE3E-AEA1D573D914}"/>
              </a:ext>
            </a:extLst>
          </p:cNvPr>
          <p:cNvSpPr/>
          <p:nvPr userDrawn="1"/>
        </p:nvSpPr>
        <p:spPr>
          <a:xfrm rot="618331">
            <a:off x="-97817" y="3246983"/>
            <a:ext cx="9199428" cy="263993"/>
          </a:xfrm>
          <a:custGeom>
            <a:avLst/>
            <a:gdLst>
              <a:gd name="connsiteX0" fmla="*/ 0 w 9199428"/>
              <a:gd name="connsiteY0" fmla="*/ 0 h 263993"/>
              <a:gd name="connsiteX1" fmla="*/ 9196763 w 9199428"/>
              <a:gd name="connsiteY1" fmla="*/ 0 h 263993"/>
              <a:gd name="connsiteX2" fmla="*/ 9199428 w 9199428"/>
              <a:gd name="connsiteY2" fmla="*/ 17290 h 263993"/>
              <a:gd name="connsiteX3" fmla="*/ 48002 w 9199428"/>
              <a:gd name="connsiteY3" fmla="*/ 263993 h 263993"/>
            </a:gdLst>
            <a:ahLst/>
            <a:cxnLst>
              <a:cxn ang="0">
                <a:pos x="connsiteX0" y="connsiteY0"/>
              </a:cxn>
              <a:cxn ang="0">
                <a:pos x="connsiteX1" y="connsiteY1"/>
              </a:cxn>
              <a:cxn ang="0">
                <a:pos x="connsiteX2" y="connsiteY2"/>
              </a:cxn>
              <a:cxn ang="0">
                <a:pos x="connsiteX3" y="connsiteY3"/>
              </a:cxn>
            </a:cxnLst>
            <a:rect l="l" t="t" r="r" b="b"/>
            <a:pathLst>
              <a:path w="9199428" h="263993">
                <a:moveTo>
                  <a:pt x="0" y="0"/>
                </a:moveTo>
                <a:lnTo>
                  <a:pt x="9196763" y="0"/>
                </a:lnTo>
                <a:lnTo>
                  <a:pt x="9199428" y="17290"/>
                </a:lnTo>
                <a:lnTo>
                  <a:pt x="48002" y="2639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4" name="Forma libre: forma 23">
            <a:extLst>
              <a:ext uri="{FF2B5EF4-FFF2-40B4-BE49-F238E27FC236}">
                <a16:creationId xmlns:a16="http://schemas.microsoft.com/office/drawing/2014/main" id="{5FDBDE62-8E4E-4C72-A6F5-E6C1A362D933}"/>
              </a:ext>
            </a:extLst>
          </p:cNvPr>
          <p:cNvSpPr/>
          <p:nvPr userDrawn="1"/>
        </p:nvSpPr>
        <p:spPr>
          <a:xfrm rot="525679">
            <a:off x="-301913" y="3385694"/>
            <a:ext cx="9323828" cy="3249959"/>
          </a:xfrm>
          <a:custGeom>
            <a:avLst/>
            <a:gdLst>
              <a:gd name="connsiteX0" fmla="*/ 0 w 9323828"/>
              <a:gd name="connsiteY0" fmla="*/ 0 h 3249959"/>
              <a:gd name="connsiteX1" fmla="*/ 9226661 w 9323828"/>
              <a:gd name="connsiteY1" fmla="*/ 0 h 3249959"/>
              <a:gd name="connsiteX2" fmla="*/ 9323828 w 9323828"/>
              <a:gd name="connsiteY2" fmla="*/ 630475 h 3249959"/>
              <a:gd name="connsiteX3" fmla="*/ 6123942 w 9323828"/>
              <a:gd name="connsiteY3" fmla="*/ 3249959 h 3249959"/>
              <a:gd name="connsiteX4" fmla="*/ 500874 w 9323828"/>
              <a:gd name="connsiteY4" fmla="*/ 3249959 h 324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3828" h="3249959">
                <a:moveTo>
                  <a:pt x="0" y="0"/>
                </a:moveTo>
                <a:lnTo>
                  <a:pt x="9226661" y="0"/>
                </a:lnTo>
                <a:lnTo>
                  <a:pt x="9323828" y="630475"/>
                </a:lnTo>
                <a:lnTo>
                  <a:pt x="6123942" y="3249959"/>
                </a:lnTo>
                <a:lnTo>
                  <a:pt x="500874" y="3249959"/>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10418CF9-8860-4EA6-8FA8-1A06B1F83942}"/>
              </a:ext>
            </a:extLst>
          </p:cNvPr>
          <p:cNvSpPr/>
          <p:nvPr userDrawn="1"/>
        </p:nvSpPr>
        <p:spPr>
          <a:xfrm rot="525679">
            <a:off x="-89355" y="4416977"/>
            <a:ext cx="8514049" cy="2195260"/>
          </a:xfrm>
          <a:custGeom>
            <a:avLst/>
            <a:gdLst>
              <a:gd name="connsiteX0" fmla="*/ 0 w 8514049"/>
              <a:gd name="connsiteY0" fmla="*/ 837109 h 2195260"/>
              <a:gd name="connsiteX1" fmla="*/ 6240843 w 8514049"/>
              <a:gd name="connsiteY1" fmla="*/ 352487 h 2195260"/>
              <a:gd name="connsiteX2" fmla="*/ 6421651 w 8514049"/>
              <a:gd name="connsiteY2" fmla="*/ 196645 h 2195260"/>
              <a:gd name="connsiteX3" fmla="*/ 8514049 w 8514049"/>
              <a:gd name="connsiteY3" fmla="*/ 0 h 2195260"/>
              <a:gd name="connsiteX4" fmla="*/ 5832382 w 8514049"/>
              <a:gd name="connsiteY4" fmla="*/ 2195260 h 2195260"/>
              <a:gd name="connsiteX5" fmla="*/ 209314 w 8514049"/>
              <a:gd name="connsiteY5" fmla="*/ 2195260 h 219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4049" h="2195260">
                <a:moveTo>
                  <a:pt x="0" y="837109"/>
                </a:moveTo>
                <a:lnTo>
                  <a:pt x="6240843" y="352487"/>
                </a:lnTo>
                <a:lnTo>
                  <a:pt x="6421651" y="196645"/>
                </a:lnTo>
                <a:lnTo>
                  <a:pt x="8514049" y="0"/>
                </a:lnTo>
                <a:lnTo>
                  <a:pt x="5832382" y="2195260"/>
                </a:lnTo>
                <a:lnTo>
                  <a:pt x="209314" y="2195260"/>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7" name="18 Marcador de texto"/>
          <p:cNvSpPr>
            <a:spLocks noGrp="1"/>
          </p:cNvSpPr>
          <p:nvPr>
            <p:ph type="body" sz="quarter" idx="11" hasCustomPrompt="1"/>
          </p:nvPr>
        </p:nvSpPr>
        <p:spPr>
          <a:xfrm>
            <a:off x="384460" y="4738207"/>
            <a:ext cx="4763604" cy="576709"/>
          </a:xfrm>
          <a:prstGeom prst="rect">
            <a:avLst/>
          </a:prstGeom>
        </p:spPr>
        <p:txBody>
          <a:bodyPr>
            <a:normAutofit/>
          </a:bodyPr>
          <a:lstStyle>
            <a:lvl1pPr marL="0" indent="0" algn="l">
              <a:buNone/>
              <a:defRPr sz="180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Subtítulo de la presentación</a:t>
            </a:r>
          </a:p>
        </p:txBody>
      </p:sp>
      <p:sp>
        <p:nvSpPr>
          <p:cNvPr id="18" name="21 Marcador de texto"/>
          <p:cNvSpPr>
            <a:spLocks noGrp="1"/>
          </p:cNvSpPr>
          <p:nvPr>
            <p:ph type="body" sz="quarter" idx="12" hasCustomPrompt="1"/>
          </p:nvPr>
        </p:nvSpPr>
        <p:spPr>
          <a:xfrm>
            <a:off x="384460" y="5454129"/>
            <a:ext cx="4763468" cy="432742"/>
          </a:xfrm>
          <a:prstGeom prst="rect">
            <a:avLst/>
          </a:prstGeom>
        </p:spPr>
        <p:txBody>
          <a:bodyPr>
            <a:normAutofit/>
          </a:bodyPr>
          <a:lstStyle>
            <a:lvl1pPr marL="0" indent="0" algn="l">
              <a:buNone/>
              <a:defRPr sz="1350">
                <a:solidFill>
                  <a:schemeClr val="bg1"/>
                </a:solidFill>
                <a:latin typeface="Calibri" panose="020F0502020204030204" pitchFamily="34" charset="0"/>
                <a:cs typeface="Calibri" panose="020F05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s-ES"/>
              <a:t>Fecha</a:t>
            </a:r>
          </a:p>
        </p:txBody>
      </p:sp>
      <p:sp>
        <p:nvSpPr>
          <p:cNvPr id="19" name="18 Marcador de texto"/>
          <p:cNvSpPr>
            <a:spLocks noGrp="1"/>
          </p:cNvSpPr>
          <p:nvPr>
            <p:ph type="body" sz="quarter" idx="13" hasCustomPrompt="1"/>
          </p:nvPr>
        </p:nvSpPr>
        <p:spPr>
          <a:xfrm>
            <a:off x="384460" y="3645023"/>
            <a:ext cx="4763604" cy="1008113"/>
          </a:xfrm>
          <a:prstGeom prst="rect">
            <a:avLst/>
          </a:prstGeom>
        </p:spPr>
        <p:txBody>
          <a:bodyPr>
            <a:normAutofit/>
          </a:bodyPr>
          <a:lstStyle>
            <a:lvl1pPr marL="0" indent="0" algn="l">
              <a:spcBef>
                <a:spcPts val="300"/>
              </a:spcBef>
              <a:buNone/>
              <a:defRPr sz="2700" b="1" baseline="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Título de la presentación</a:t>
            </a:r>
          </a:p>
        </p:txBody>
      </p:sp>
      <p:cxnSp>
        <p:nvCxnSpPr>
          <p:cNvPr id="34" name="Conector recto 33">
            <a:extLst>
              <a:ext uri="{FF2B5EF4-FFF2-40B4-BE49-F238E27FC236}">
                <a16:creationId xmlns:a16="http://schemas.microsoft.com/office/drawing/2014/main" id="{85337176-BD36-4C18-8450-3A72C0339CB4}"/>
              </a:ext>
            </a:extLst>
          </p:cNvPr>
          <p:cNvCxnSpPr>
            <a:cxnSpLocks/>
          </p:cNvCxnSpPr>
          <p:nvPr userDrawn="1"/>
        </p:nvCxnSpPr>
        <p:spPr>
          <a:xfrm>
            <a:off x="375658" y="4653136"/>
            <a:ext cx="478523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Forma libre: forma 21">
            <a:extLst>
              <a:ext uri="{FF2B5EF4-FFF2-40B4-BE49-F238E27FC236}">
                <a16:creationId xmlns:a16="http://schemas.microsoft.com/office/drawing/2014/main" id="{F60A80F9-AB66-444B-9F10-03F73C21F701}"/>
              </a:ext>
            </a:extLst>
          </p:cNvPr>
          <p:cNvSpPr/>
          <p:nvPr userDrawn="1"/>
        </p:nvSpPr>
        <p:spPr>
          <a:xfrm rot="14536795">
            <a:off x="5470462" y="2152845"/>
            <a:ext cx="3059500" cy="6451098"/>
          </a:xfrm>
          <a:custGeom>
            <a:avLst/>
            <a:gdLst>
              <a:gd name="connsiteX0" fmla="*/ 3059500 w 3059500"/>
              <a:gd name="connsiteY0" fmla="*/ 6451098 h 6451098"/>
              <a:gd name="connsiteX1" fmla="*/ 0 w 3059500"/>
              <a:gd name="connsiteY1" fmla="*/ 4843457 h 6451098"/>
              <a:gd name="connsiteX2" fmla="*/ 793198 w 3059500"/>
              <a:gd name="connsiteY2" fmla="*/ 1446374 h 6451098"/>
              <a:gd name="connsiteX3" fmla="*/ 1553208 w 3059500"/>
              <a:gd name="connsiteY3" fmla="*/ 0 h 6451098"/>
            </a:gdLst>
            <a:ahLst/>
            <a:cxnLst>
              <a:cxn ang="0">
                <a:pos x="connsiteX0" y="connsiteY0"/>
              </a:cxn>
              <a:cxn ang="0">
                <a:pos x="connsiteX1" y="connsiteY1"/>
              </a:cxn>
              <a:cxn ang="0">
                <a:pos x="connsiteX2" y="connsiteY2"/>
              </a:cxn>
              <a:cxn ang="0">
                <a:pos x="connsiteX3" y="connsiteY3"/>
              </a:cxn>
            </a:cxnLst>
            <a:rect l="l" t="t" r="r" b="b"/>
            <a:pathLst>
              <a:path w="3059500" h="6451098">
                <a:moveTo>
                  <a:pt x="3059500" y="6451098"/>
                </a:moveTo>
                <a:lnTo>
                  <a:pt x="0" y="4843457"/>
                </a:lnTo>
                <a:lnTo>
                  <a:pt x="793198" y="1446374"/>
                </a:lnTo>
                <a:lnTo>
                  <a:pt x="1553208"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8" name="Rectángulo 27">
            <a:extLst>
              <a:ext uri="{FF2B5EF4-FFF2-40B4-BE49-F238E27FC236}">
                <a16:creationId xmlns:a16="http://schemas.microsoft.com/office/drawing/2014/main" id="{ED7DE510-7852-4BE7-A1C2-E1FFC1F1A402}"/>
              </a:ext>
            </a:extLst>
          </p:cNvPr>
          <p:cNvSpPr/>
          <p:nvPr userDrawn="1"/>
        </p:nvSpPr>
        <p:spPr>
          <a:xfrm>
            <a:off x="0" y="6509540"/>
            <a:ext cx="1199456" cy="153691"/>
          </a:xfrm>
          <a:prstGeom prst="rect">
            <a:avLst/>
          </a:prstGeom>
          <a:solidFill>
            <a:schemeClr val="bg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ES" sz="1800" b="1">
              <a:solidFill>
                <a:schemeClr val="bg1"/>
              </a:solidFill>
            </a:endParaRPr>
          </a:p>
        </p:txBody>
      </p:sp>
      <p:sp>
        <p:nvSpPr>
          <p:cNvPr id="29" name="CuadroTexto 15">
            <a:extLst>
              <a:ext uri="{FF2B5EF4-FFF2-40B4-BE49-F238E27FC236}">
                <a16:creationId xmlns:a16="http://schemas.microsoft.com/office/drawing/2014/main" id="{F6D5D86C-B75D-488A-8835-60821F6661A7}"/>
              </a:ext>
            </a:extLst>
          </p:cNvPr>
          <p:cNvSpPr txBox="1"/>
          <p:nvPr userDrawn="1"/>
        </p:nvSpPr>
        <p:spPr>
          <a:xfrm>
            <a:off x="-1" y="6463275"/>
            <a:ext cx="1199458" cy="246221"/>
          </a:xfrm>
          <a:prstGeom prst="rect">
            <a:avLst/>
          </a:prstGeom>
          <a:noFill/>
        </p:spPr>
        <p:txBody>
          <a:bodyPr wrap="square" rtlCol="0">
            <a:sp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1000" b="1">
                <a:solidFill>
                  <a:schemeClr val="bg1">
                    <a:lumMod val="50000"/>
                  </a:schemeClr>
                </a:solidFill>
              </a:rPr>
              <a:t>TLP: WHITE</a:t>
            </a:r>
          </a:p>
        </p:txBody>
      </p:sp>
      <p:sp>
        <p:nvSpPr>
          <p:cNvPr id="21" name="Forma libre: forma 20">
            <a:extLst>
              <a:ext uri="{FF2B5EF4-FFF2-40B4-BE49-F238E27FC236}">
                <a16:creationId xmlns:a16="http://schemas.microsoft.com/office/drawing/2014/main" id="{9196F45B-815D-4201-8762-0D52609EBF80}"/>
              </a:ext>
            </a:extLst>
          </p:cNvPr>
          <p:cNvSpPr/>
          <p:nvPr userDrawn="1"/>
        </p:nvSpPr>
        <p:spPr>
          <a:xfrm rot="14536795">
            <a:off x="5470463" y="2195975"/>
            <a:ext cx="3059500" cy="6451098"/>
          </a:xfrm>
          <a:custGeom>
            <a:avLst/>
            <a:gdLst>
              <a:gd name="connsiteX0" fmla="*/ 3059500 w 3059500"/>
              <a:gd name="connsiteY0" fmla="*/ 6451098 h 6451098"/>
              <a:gd name="connsiteX1" fmla="*/ 0 w 3059500"/>
              <a:gd name="connsiteY1" fmla="*/ 4843457 h 6451098"/>
              <a:gd name="connsiteX2" fmla="*/ 793198 w 3059500"/>
              <a:gd name="connsiteY2" fmla="*/ 1446374 h 6451098"/>
              <a:gd name="connsiteX3" fmla="*/ 1553208 w 3059500"/>
              <a:gd name="connsiteY3" fmla="*/ 0 h 6451098"/>
            </a:gdLst>
            <a:ahLst/>
            <a:cxnLst>
              <a:cxn ang="0">
                <a:pos x="connsiteX0" y="connsiteY0"/>
              </a:cxn>
              <a:cxn ang="0">
                <a:pos x="connsiteX1" y="connsiteY1"/>
              </a:cxn>
              <a:cxn ang="0">
                <a:pos x="connsiteX2" y="connsiteY2"/>
              </a:cxn>
              <a:cxn ang="0">
                <a:pos x="connsiteX3" y="connsiteY3"/>
              </a:cxn>
            </a:cxnLst>
            <a:rect l="l" t="t" r="r" b="b"/>
            <a:pathLst>
              <a:path w="3059500" h="6451098">
                <a:moveTo>
                  <a:pt x="3059500" y="6451098"/>
                </a:moveTo>
                <a:lnTo>
                  <a:pt x="0" y="4843457"/>
                </a:lnTo>
                <a:lnTo>
                  <a:pt x="793198" y="1446374"/>
                </a:lnTo>
                <a:lnTo>
                  <a:pt x="1553208"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pic>
        <p:nvPicPr>
          <p:cNvPr id="23" name="Imagen 22" descr="Dirección General de Transformación Digital de la Administración de Justicia, dependiente de la Secretaría General para la Innovación y Calidad del Servicio Público de Justicia, Secretaría de Estado de Justicia, Ministerio de Justicia. Agenda 2030.">
            <a:extLst>
              <a:ext uri="{FF2B5EF4-FFF2-40B4-BE49-F238E27FC236}">
                <a16:creationId xmlns:a16="http://schemas.microsoft.com/office/drawing/2014/main" id="{BB8ABBA2-E269-48E3-A149-8B8E9B523E62}"/>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433280" y="6391658"/>
            <a:ext cx="2277440" cy="325348"/>
          </a:xfrm>
          <a:prstGeom prst="rect">
            <a:avLst/>
          </a:prstGeom>
        </p:spPr>
      </p:pic>
    </p:spTree>
    <p:extLst>
      <p:ext uri="{BB962C8B-B14F-4D97-AF65-F5344CB8AC3E}">
        <p14:creationId xmlns:p14="http://schemas.microsoft.com/office/powerpoint/2010/main" val="1927057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Gracias por su atención">
    <p:spTree>
      <p:nvGrpSpPr>
        <p:cNvPr id="1" name=""/>
        <p:cNvGrpSpPr/>
        <p:nvPr/>
      </p:nvGrpSpPr>
      <p:grpSpPr>
        <a:xfrm>
          <a:off x="0" y="0"/>
          <a:ext cx="0" cy="0"/>
          <a:chOff x="0" y="0"/>
          <a:chExt cx="0" cy="0"/>
        </a:xfrm>
      </p:grpSpPr>
      <p:graphicFrame>
        <p:nvGraphicFramePr>
          <p:cNvPr id="24" name="Objeto 23" hidden="1">
            <a:extLst>
              <a:ext uri="{FF2B5EF4-FFF2-40B4-BE49-F238E27FC236}">
                <a16:creationId xmlns:a16="http://schemas.microsoft.com/office/drawing/2014/main" id="{81D7397D-C91D-41A4-A686-41955D1D97A2}"/>
              </a:ext>
            </a:extLst>
          </p:cNvPr>
          <p:cNvGraphicFramePr>
            <a:graphicFrameLocks noChangeAspect="1"/>
          </p:cNvGraphicFramePr>
          <p:nvPr userDrawn="1">
            <p:custDataLst>
              <p:tags r:id="rId1"/>
            </p:custDataLst>
            <p:extLst>
              <p:ext uri="{D42A27DB-BD31-4B8C-83A1-F6EECF244321}">
                <p14:modId xmlns:p14="http://schemas.microsoft.com/office/powerpoint/2010/main" val="291464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24" name="Objeto 23" hidden="1">
                        <a:extLst>
                          <a:ext uri="{FF2B5EF4-FFF2-40B4-BE49-F238E27FC236}">
                            <a16:creationId xmlns:a16="http://schemas.microsoft.com/office/drawing/2014/main" id="{81D7397D-C91D-41A4-A686-41955D1D97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Forma libre: forma 34">
            <a:extLst>
              <a:ext uri="{FF2B5EF4-FFF2-40B4-BE49-F238E27FC236}">
                <a16:creationId xmlns:a16="http://schemas.microsoft.com/office/drawing/2014/main" id="{2A35B54A-82A2-4A6F-9F50-93AD981FF25F}"/>
              </a:ext>
            </a:extLst>
          </p:cNvPr>
          <p:cNvSpPr/>
          <p:nvPr userDrawn="1"/>
        </p:nvSpPr>
        <p:spPr>
          <a:xfrm rot="2653743">
            <a:off x="5292922" y="1458956"/>
            <a:ext cx="4593994" cy="263354"/>
          </a:xfrm>
          <a:custGeom>
            <a:avLst/>
            <a:gdLst>
              <a:gd name="connsiteX0" fmla="*/ 1281653 w 4593994"/>
              <a:gd name="connsiteY0" fmla="*/ 0 h 263354"/>
              <a:gd name="connsiteX1" fmla="*/ 4337634 w 4593994"/>
              <a:gd name="connsiteY1" fmla="*/ 0 h 263354"/>
              <a:gd name="connsiteX2" fmla="*/ 4426355 w 4593994"/>
              <a:gd name="connsiteY2" fmla="*/ 91142 h 263354"/>
              <a:gd name="connsiteX3" fmla="*/ 0 w 4593994"/>
              <a:gd name="connsiteY3" fmla="*/ 0 h 263354"/>
              <a:gd name="connsiteX4" fmla="*/ 16 w 4593994"/>
              <a:gd name="connsiteY4" fmla="*/ 0 h 263354"/>
              <a:gd name="connsiteX5" fmla="*/ 4593994 w 4593994"/>
              <a:gd name="connsiteY5" fmla="*/ 263353 h 263354"/>
              <a:gd name="connsiteX6" fmla="*/ 4593994 w 4593994"/>
              <a:gd name="connsiteY6" fmla="*/ 263354 h 26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3994" h="263354">
                <a:moveTo>
                  <a:pt x="1281653" y="0"/>
                </a:moveTo>
                <a:lnTo>
                  <a:pt x="4337634" y="0"/>
                </a:lnTo>
                <a:lnTo>
                  <a:pt x="4426355" y="91142"/>
                </a:lnTo>
                <a:close/>
                <a:moveTo>
                  <a:pt x="0" y="0"/>
                </a:moveTo>
                <a:lnTo>
                  <a:pt x="16" y="0"/>
                </a:lnTo>
                <a:lnTo>
                  <a:pt x="4593994" y="263353"/>
                </a:lnTo>
                <a:lnTo>
                  <a:pt x="4593994" y="263354"/>
                </a:lnTo>
                <a:close/>
              </a:path>
            </a:pathLst>
          </a:custGeom>
          <a:solidFill>
            <a:schemeClr val="accent3">
              <a:lumMod val="20000"/>
              <a:lumOff val="80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4" name="Forma libre: forma 33">
            <a:extLst>
              <a:ext uri="{FF2B5EF4-FFF2-40B4-BE49-F238E27FC236}">
                <a16:creationId xmlns:a16="http://schemas.microsoft.com/office/drawing/2014/main" id="{735770AD-F899-4F63-9F59-3C47D5BFE539}"/>
              </a:ext>
            </a:extLst>
          </p:cNvPr>
          <p:cNvSpPr/>
          <p:nvPr userDrawn="1"/>
        </p:nvSpPr>
        <p:spPr>
          <a:xfrm rot="2753350">
            <a:off x="5425189" y="1545628"/>
            <a:ext cx="4456081" cy="167283"/>
          </a:xfrm>
          <a:custGeom>
            <a:avLst/>
            <a:gdLst>
              <a:gd name="connsiteX0" fmla="*/ 39933 w 4456081"/>
              <a:gd name="connsiteY0" fmla="*/ 0 h 167283"/>
              <a:gd name="connsiteX1" fmla="*/ 4283524 w 4456081"/>
              <a:gd name="connsiteY1" fmla="*/ 1 h 167283"/>
              <a:gd name="connsiteX2" fmla="*/ 4456081 w 4456081"/>
              <a:gd name="connsiteY2" fmla="*/ 167283 h 167283"/>
              <a:gd name="connsiteX3" fmla="*/ 0 w 4456081"/>
              <a:gd name="connsiteY3" fmla="*/ 41193 h 167283"/>
            </a:gdLst>
            <a:ahLst/>
            <a:cxnLst>
              <a:cxn ang="0">
                <a:pos x="connsiteX0" y="connsiteY0"/>
              </a:cxn>
              <a:cxn ang="0">
                <a:pos x="connsiteX1" y="connsiteY1"/>
              </a:cxn>
              <a:cxn ang="0">
                <a:pos x="connsiteX2" y="connsiteY2"/>
              </a:cxn>
              <a:cxn ang="0">
                <a:pos x="connsiteX3" y="connsiteY3"/>
              </a:cxn>
            </a:cxnLst>
            <a:rect l="l" t="t" r="r" b="b"/>
            <a:pathLst>
              <a:path w="4456081" h="167283">
                <a:moveTo>
                  <a:pt x="39933" y="0"/>
                </a:moveTo>
                <a:lnTo>
                  <a:pt x="4283524" y="1"/>
                </a:lnTo>
                <a:lnTo>
                  <a:pt x="4456081" y="167283"/>
                </a:lnTo>
                <a:lnTo>
                  <a:pt x="0" y="41193"/>
                </a:lnTo>
                <a:close/>
              </a:path>
            </a:pathLst>
          </a:custGeom>
          <a:solidFill>
            <a:schemeClr val="accent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9" name="Forma libre: forma 28">
            <a:extLst>
              <a:ext uri="{FF2B5EF4-FFF2-40B4-BE49-F238E27FC236}">
                <a16:creationId xmlns:a16="http://schemas.microsoft.com/office/drawing/2014/main" id="{188B82AC-2450-4084-8C3C-2B90D1710E50}"/>
              </a:ext>
            </a:extLst>
          </p:cNvPr>
          <p:cNvSpPr/>
          <p:nvPr userDrawn="1"/>
        </p:nvSpPr>
        <p:spPr>
          <a:xfrm rot="2850599">
            <a:off x="-1172268" y="-94272"/>
            <a:ext cx="11248272" cy="7246564"/>
          </a:xfrm>
          <a:custGeom>
            <a:avLst/>
            <a:gdLst>
              <a:gd name="connsiteX0" fmla="*/ 0 w 11248272"/>
              <a:gd name="connsiteY0" fmla="*/ 4538508 h 7246564"/>
              <a:gd name="connsiteX1" fmla="*/ 4157322 w 11248272"/>
              <a:gd name="connsiteY1" fmla="*/ 0 h 7246564"/>
              <a:gd name="connsiteX2" fmla="*/ 8615189 w 11248272"/>
              <a:gd name="connsiteY2" fmla="*/ 0 h 7246564"/>
              <a:gd name="connsiteX3" fmla="*/ 11248272 w 11248272"/>
              <a:gd name="connsiteY3" fmla="*/ 2411933 h 7246564"/>
              <a:gd name="connsiteX4" fmla="*/ 6819699 w 11248272"/>
              <a:gd name="connsiteY4" fmla="*/ 7246564 h 7246564"/>
              <a:gd name="connsiteX5" fmla="*/ 2956357 w 11248272"/>
              <a:gd name="connsiteY5" fmla="*/ 7246564 h 724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8272" h="7246564">
                <a:moveTo>
                  <a:pt x="0" y="4538508"/>
                </a:moveTo>
                <a:lnTo>
                  <a:pt x="4157322" y="0"/>
                </a:lnTo>
                <a:lnTo>
                  <a:pt x="8615189" y="0"/>
                </a:lnTo>
                <a:lnTo>
                  <a:pt x="11248272" y="2411933"/>
                </a:lnTo>
                <a:lnTo>
                  <a:pt x="6819699" y="7246564"/>
                </a:lnTo>
                <a:lnTo>
                  <a:pt x="2956357" y="7246564"/>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5" name="Forma libre: forma 24">
            <a:extLst>
              <a:ext uri="{FF2B5EF4-FFF2-40B4-BE49-F238E27FC236}">
                <a16:creationId xmlns:a16="http://schemas.microsoft.com/office/drawing/2014/main" id="{3BF9DB07-1B7F-40C9-BB65-CA527B8E08D8}"/>
              </a:ext>
            </a:extLst>
          </p:cNvPr>
          <p:cNvSpPr/>
          <p:nvPr userDrawn="1"/>
        </p:nvSpPr>
        <p:spPr>
          <a:xfrm rot="2850599">
            <a:off x="-2432127" y="2796095"/>
            <a:ext cx="9663014" cy="3076225"/>
          </a:xfrm>
          <a:custGeom>
            <a:avLst/>
            <a:gdLst>
              <a:gd name="connsiteX0" fmla="*/ 0 w 9663014"/>
              <a:gd name="connsiteY0" fmla="*/ 395965 h 3076225"/>
              <a:gd name="connsiteX1" fmla="*/ 34391 w 9663014"/>
              <a:gd name="connsiteY1" fmla="*/ 358421 h 3076225"/>
              <a:gd name="connsiteX2" fmla="*/ 9663014 w 9663014"/>
              <a:gd name="connsiteY2" fmla="*/ 0 h 3076225"/>
              <a:gd name="connsiteX3" fmla="*/ 6845160 w 9663014"/>
              <a:gd name="connsiteY3" fmla="*/ 3076224 h 3076225"/>
              <a:gd name="connsiteX4" fmla="*/ 2926014 w 9663014"/>
              <a:gd name="connsiteY4" fmla="*/ 3076225 h 30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3014" h="3076225">
                <a:moveTo>
                  <a:pt x="0" y="395965"/>
                </a:moveTo>
                <a:lnTo>
                  <a:pt x="34391" y="358421"/>
                </a:lnTo>
                <a:lnTo>
                  <a:pt x="9663014" y="0"/>
                </a:lnTo>
                <a:lnTo>
                  <a:pt x="6845160" y="3076224"/>
                </a:lnTo>
                <a:lnTo>
                  <a:pt x="2926014" y="3076225"/>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Slide Number Placeholder 17">
            <a:extLst>
              <a:ext uri="{FF2B5EF4-FFF2-40B4-BE49-F238E27FC236}">
                <a16:creationId xmlns:a16="http://schemas.microsoft.com/office/drawing/2014/main" id="{4B31578C-2837-45C4-B575-B7C58CDB8FEB}"/>
              </a:ext>
            </a:extLst>
          </p:cNvPr>
          <p:cNvSpPr>
            <a:spLocks noGrp="1"/>
          </p:cNvSpPr>
          <p:nvPr>
            <p:ph type="sldNum" sz="quarter" idx="4"/>
          </p:nvPr>
        </p:nvSpPr>
        <p:spPr>
          <a:xfrm>
            <a:off x="8564716" y="6309320"/>
            <a:ext cx="360040" cy="365125"/>
          </a:xfrm>
          <a:prstGeom prst="rect">
            <a:avLst/>
          </a:prstGeom>
        </p:spPr>
        <p:txBody>
          <a:bodyPr vert="horz" lIns="0" tIns="0" rIns="0" bIns="0" anchor="b"/>
          <a:lstStyle>
            <a:lvl1pPr algn="r" eaLnBrk="1" latinLnBrk="0" hangingPunct="1">
              <a:defRPr kumimoji="0" sz="1050">
                <a:solidFill>
                  <a:schemeClr val="tx1"/>
                </a:solidFill>
                <a:latin typeface="Arial" panose="020B0604020202020204" pitchFamily="34" charset="0"/>
                <a:cs typeface="Arial" panose="020B0604020202020204" pitchFamily="34" charset="0"/>
              </a:defRPr>
            </a:lvl1pPr>
          </a:lstStyle>
          <a:p>
            <a:fld id="{BCECDAE5-3B81-401B-AAD2-D1C88E068655}" type="slidenum">
              <a:rPr lang="es-ES" smtClean="0"/>
              <a:pPr/>
              <a:t>‹Nº›</a:t>
            </a:fld>
            <a:endParaRPr lang="es-ES"/>
          </a:p>
        </p:txBody>
      </p:sp>
    </p:spTree>
    <p:extLst>
      <p:ext uri="{BB962C8B-B14F-4D97-AF65-F5344CB8AC3E}">
        <p14:creationId xmlns:p14="http://schemas.microsoft.com/office/powerpoint/2010/main" val="10543030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iapositiva de título">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648EBD71-7A3C-48B9-963A-EA6907753C44}"/>
              </a:ext>
            </a:extLst>
          </p:cNvPr>
          <p:cNvPicPr>
            <a:picLocks noChangeAspect="1"/>
          </p:cNvPicPr>
          <p:nvPr userDrawn="1"/>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b="8539"/>
          <a:stretch/>
        </p:blipFill>
        <p:spPr>
          <a:xfrm rot="5400000">
            <a:off x="-1928170" y="1928170"/>
            <a:ext cx="6858000" cy="3001660"/>
          </a:xfrm>
          <a:prstGeom prst="rect">
            <a:avLst/>
          </a:prstGeom>
        </p:spPr>
      </p:pic>
      <p:sp>
        <p:nvSpPr>
          <p:cNvPr id="8" name="Rectángulo 7">
            <a:extLst>
              <a:ext uri="{FF2B5EF4-FFF2-40B4-BE49-F238E27FC236}">
                <a16:creationId xmlns:a16="http://schemas.microsoft.com/office/drawing/2014/main" id="{D28E36E7-D9EC-4902-AABB-DC5FF92307AC}"/>
              </a:ext>
            </a:extLst>
          </p:cNvPr>
          <p:cNvSpPr/>
          <p:nvPr userDrawn="1"/>
        </p:nvSpPr>
        <p:spPr>
          <a:xfrm>
            <a:off x="52113" y="0"/>
            <a:ext cx="9091887" cy="6858000"/>
          </a:xfrm>
          <a:prstGeom prst="rect">
            <a:avLst/>
          </a:prstGeom>
          <a:gradFill flip="none" rotWithShape="1">
            <a:gsLst>
              <a:gs pos="2703">
                <a:schemeClr val="bg2">
                  <a:lumMod val="20000"/>
                  <a:lumOff val="80000"/>
                  <a:alpha val="72000"/>
                </a:schemeClr>
              </a:gs>
              <a:gs pos="88000">
                <a:schemeClr val="bg1">
                  <a:alpha val="30000"/>
                </a:schemeClr>
              </a:gs>
            </a:gsLst>
            <a:path path="rect">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17"/>
          </a:p>
        </p:txBody>
      </p:sp>
    </p:spTree>
    <p:extLst>
      <p:ext uri="{BB962C8B-B14F-4D97-AF65-F5344CB8AC3E}">
        <p14:creationId xmlns:p14="http://schemas.microsoft.com/office/powerpoint/2010/main" val="1786915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Contenido">
    <p:spTree>
      <p:nvGrpSpPr>
        <p:cNvPr id="1" name=""/>
        <p:cNvGrpSpPr/>
        <p:nvPr/>
      </p:nvGrpSpPr>
      <p:grpSpPr>
        <a:xfrm>
          <a:off x="0" y="0"/>
          <a:ext cx="0" cy="0"/>
          <a:chOff x="0" y="0"/>
          <a:chExt cx="0" cy="0"/>
        </a:xfrm>
      </p:grpSpPr>
      <p:cxnSp>
        <p:nvCxnSpPr>
          <p:cNvPr id="9" name="8 Conector recto"/>
          <p:cNvCxnSpPr/>
          <p:nvPr userDrawn="1"/>
        </p:nvCxnSpPr>
        <p:spPr>
          <a:xfrm>
            <a:off x="3830" y="692696"/>
            <a:ext cx="9140171"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1 Título"/>
          <p:cNvSpPr>
            <a:spLocks noGrp="1"/>
          </p:cNvSpPr>
          <p:nvPr>
            <p:ph type="title" hasCustomPrompt="1"/>
          </p:nvPr>
        </p:nvSpPr>
        <p:spPr>
          <a:xfrm>
            <a:off x="1" y="188645"/>
            <a:ext cx="9144000" cy="855063"/>
          </a:xfrm>
          <a:prstGeom prst="rect">
            <a:avLst/>
          </a:prstGeom>
        </p:spPr>
        <p:txBody>
          <a:bodyPr>
            <a:noAutofit/>
          </a:bodyPr>
          <a:lstStyle>
            <a:lvl1pPr algn="just">
              <a:tabLst>
                <a:tab pos="2066244" algn="l"/>
              </a:tabLst>
              <a:defRPr sz="2215" b="1" cap="all" baseline="0">
                <a:solidFill>
                  <a:schemeClr val="tx2"/>
                </a:solidFill>
                <a:latin typeface="+mj-lt"/>
                <a:ea typeface="Verdana" pitchFamily="34" charset="0"/>
                <a:cs typeface="Verdana" pitchFamily="34" charset="0"/>
              </a:defRPr>
            </a:lvl1pPr>
          </a:lstStyle>
          <a:p>
            <a:pPr>
              <a:tabLst>
                <a:tab pos="2238375" algn="l"/>
              </a:tabLst>
            </a:pPr>
            <a:r>
              <a:rPr lang="es-ES" sz="1846">
                <a:solidFill>
                  <a:schemeClr val="tx2"/>
                </a:solidFill>
                <a:latin typeface="Arial" pitchFamily="34" charset="0"/>
                <a:cs typeface="Arial" pitchFamily="34" charset="0"/>
              </a:rPr>
              <a:t>1. Título</a:t>
            </a:r>
          </a:p>
        </p:txBody>
      </p:sp>
      <p:sp>
        <p:nvSpPr>
          <p:cNvPr id="17" name="13 Marcador de texto"/>
          <p:cNvSpPr txBox="1">
            <a:spLocks/>
          </p:cNvSpPr>
          <p:nvPr userDrawn="1"/>
        </p:nvSpPr>
        <p:spPr>
          <a:xfrm>
            <a:off x="35499" y="774235"/>
            <a:ext cx="9049417" cy="710555"/>
          </a:xfrm>
          <a:prstGeom prst="rect">
            <a:avLst/>
          </a:prstGeom>
        </p:spPr>
        <p:txBody>
          <a:bodyPr vert="horz" lIns="84406" tIns="42203" rIns="84406" bIns="42203" rtlCol="0" anchor="t" anchorCtr="0">
            <a:noAutofit/>
          </a:bodyPr>
          <a:lstStyle>
            <a:lvl1pPr marL="0" indent="0">
              <a:buNone/>
              <a:defRPr sz="2400">
                <a:latin typeface="+mj-lt"/>
                <a:ea typeface="Verdana" pitchFamily="34" charset="0"/>
                <a:cs typeface="Verdana" pitchFamily="34" charset="0"/>
              </a:defRPr>
            </a:lvl1pPr>
            <a:lvl2pPr>
              <a:buFont typeface="Wingdings" pitchFamily="2" charset="2"/>
              <a:buChar char="§"/>
              <a:defRPr sz="1800">
                <a:latin typeface="+mj-lt"/>
                <a:ea typeface="Verdana" pitchFamily="34" charset="0"/>
                <a:cs typeface="Verdana" pitchFamily="34" charset="0"/>
              </a:defRPr>
            </a:lvl2pPr>
            <a:lvl3pPr>
              <a:buFont typeface="Wingdings" pitchFamily="2" charset="2"/>
              <a:buChar char="Ø"/>
              <a:defRPr sz="1800">
                <a:latin typeface="+mj-lt"/>
                <a:ea typeface="Verdana" pitchFamily="34" charset="0"/>
                <a:cs typeface="Verdana" pitchFamily="34" charset="0"/>
              </a:defRPr>
            </a:lvl3pPr>
            <a:lvl4pPr>
              <a:buFont typeface="Arial" pitchFamily="34" charset="0"/>
              <a:buChar char="•"/>
              <a:defRPr sz="1800">
                <a:latin typeface="+mj-lt"/>
                <a:ea typeface="Verdana" pitchFamily="34" charset="0"/>
                <a:cs typeface="Verdana" pitchFamily="34" charset="0"/>
              </a:defRPr>
            </a:lvl4pPr>
            <a:lvl5pPr>
              <a:buFont typeface="Courier New" pitchFamily="49" charset="0"/>
              <a:buChar char="o"/>
              <a:defRPr sz="1800">
                <a:latin typeface="+mj-lt"/>
                <a:ea typeface="Verdana" pitchFamily="34" charset="0"/>
                <a:cs typeface="Verdana" pitchFamily="34" charset="0"/>
              </a:defRPr>
            </a:lvl5pPr>
          </a:lstStyle>
          <a:p>
            <a:pPr algn="just">
              <a:defRPr/>
            </a:pPr>
            <a:endParaRPr lang="es-ES" sz="1385" i="1">
              <a:latin typeface="Arial" panose="020B0604020202020204" pitchFamily="34" charset="0"/>
              <a:ea typeface="+mn-ea"/>
              <a:cs typeface="Arial" panose="020B0604020202020204" pitchFamily="34" charset="0"/>
            </a:endParaRPr>
          </a:p>
        </p:txBody>
      </p:sp>
      <p:sp>
        <p:nvSpPr>
          <p:cNvPr id="18" name="5 Marcador de número de diapositiva"/>
          <p:cNvSpPr>
            <a:spLocks noGrp="1"/>
          </p:cNvSpPr>
          <p:nvPr>
            <p:ph type="sldNum" sz="quarter" idx="12"/>
          </p:nvPr>
        </p:nvSpPr>
        <p:spPr>
          <a:xfrm>
            <a:off x="6902896" y="6356358"/>
            <a:ext cx="2133600" cy="365125"/>
          </a:xfrm>
          <a:prstGeom prst="rect">
            <a:avLst/>
          </a:prstGeom>
        </p:spPr>
        <p:txBody>
          <a:bodyPr/>
          <a:lstStyle>
            <a:lvl1pPr algn="r">
              <a:defRPr sz="1108">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a:p>
        </p:txBody>
      </p:sp>
      <p:sp>
        <p:nvSpPr>
          <p:cNvPr id="8" name="13 Marcador de texto"/>
          <p:cNvSpPr>
            <a:spLocks noGrp="1"/>
          </p:cNvSpPr>
          <p:nvPr>
            <p:ph type="body" sz="quarter" idx="10" hasCustomPrompt="1"/>
          </p:nvPr>
        </p:nvSpPr>
        <p:spPr>
          <a:xfrm>
            <a:off x="220333" y="1032487"/>
            <a:ext cx="8685796" cy="4392612"/>
          </a:xfrm>
          <a:prstGeom prst="rect">
            <a:avLst/>
          </a:prstGeom>
        </p:spPr>
        <p:txBody>
          <a:bodyPr/>
          <a:lstStyle>
            <a:lvl1pPr marL="0" indent="0">
              <a:buNone/>
              <a:defRPr sz="1477" i="1">
                <a:solidFill>
                  <a:schemeClr val="tx1"/>
                </a:solidFill>
                <a:latin typeface="Arial" panose="020B0604020202020204" pitchFamily="34" charset="0"/>
                <a:cs typeface="Arial" panose="020B0604020202020204" pitchFamily="34" charset="0"/>
              </a:defRPr>
            </a:lvl1pPr>
            <a:lvl2pPr>
              <a:buFont typeface="Wingdings" pitchFamily="2" charset="2"/>
              <a:buChar char="§"/>
              <a:defRPr sz="2585"/>
            </a:lvl2pPr>
            <a:lvl3pPr>
              <a:buFont typeface="Wingdings" pitchFamily="2" charset="2"/>
              <a:buChar char="Ø"/>
              <a:defRPr sz="2215"/>
            </a:lvl3pPr>
            <a:lvl4pPr>
              <a:buFont typeface="Arial" pitchFamily="34" charset="0"/>
              <a:buChar char="•"/>
              <a:defRPr sz="1846"/>
            </a:lvl4pPr>
            <a:lvl5pPr>
              <a:buFont typeface="Courier New" pitchFamily="49" charset="0"/>
              <a:buChar char="o"/>
              <a:defRPr sz="1662"/>
            </a:lvl5pPr>
          </a:lstStyle>
          <a:p>
            <a:pPr lvl="0"/>
            <a:r>
              <a:rPr lang="es-ES"/>
              <a:t>Texto</a:t>
            </a:r>
          </a:p>
        </p:txBody>
      </p:sp>
      <p:pic>
        <p:nvPicPr>
          <p:cNvPr id="11" name="Imagen 10">
            <a:extLst>
              <a:ext uri="{FF2B5EF4-FFF2-40B4-BE49-F238E27FC236}">
                <a16:creationId xmlns:a16="http://schemas.microsoft.com/office/drawing/2014/main" id="{0E469F41-7E84-467B-B51D-D250BDADE8E9}"/>
              </a:ext>
            </a:extLst>
          </p:cNvPr>
          <p:cNvPicPr>
            <a:picLocks noChangeAspect="1"/>
          </p:cNvPicPr>
          <p:nvPr userDrawn="1"/>
        </p:nvPicPr>
        <p:blipFill rotWithShape="1">
          <a:blip r:embed="rId2"/>
          <a:srcRect/>
          <a:stretch/>
        </p:blipFill>
        <p:spPr>
          <a:xfrm>
            <a:off x="3823944" y="6455418"/>
            <a:ext cx="1496113" cy="292971"/>
          </a:xfrm>
          <a:prstGeom prst="rect">
            <a:avLst/>
          </a:prstGeom>
        </p:spPr>
      </p:pic>
    </p:spTree>
    <p:extLst>
      <p:ext uri="{BB962C8B-B14F-4D97-AF65-F5344CB8AC3E}">
        <p14:creationId xmlns:p14="http://schemas.microsoft.com/office/powerpoint/2010/main" val="19160038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ítulo">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340293EA-65D7-41AF-8C73-8085F2DAF0C2}"/>
              </a:ext>
            </a:extLst>
          </p:cNvPr>
          <p:cNvGraphicFramePr>
            <a:graphicFrameLocks noChangeAspect="1"/>
          </p:cNvGraphicFramePr>
          <p:nvPr userDrawn="1">
            <p:custDataLst>
              <p:tags r:id="rId1"/>
            </p:custDataLst>
            <p:extLst>
              <p:ext uri="{D42A27DB-BD31-4B8C-83A1-F6EECF244321}">
                <p14:modId xmlns:p14="http://schemas.microsoft.com/office/powerpoint/2010/main" val="1281081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3" name="Objeto 2" hidden="1">
                        <a:extLst>
                          <a:ext uri="{FF2B5EF4-FFF2-40B4-BE49-F238E27FC236}">
                            <a16:creationId xmlns:a16="http://schemas.microsoft.com/office/drawing/2014/main" id="{340293EA-65D7-41AF-8C73-8085F2DAF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Imagen 11">
            <a:extLst>
              <a:ext uri="{FF2B5EF4-FFF2-40B4-BE49-F238E27FC236}">
                <a16:creationId xmlns:a16="http://schemas.microsoft.com/office/drawing/2014/main" id="{8240A2E6-9E93-4BD1-A539-DDACC4F9443F}"/>
              </a:ext>
            </a:extLst>
          </p:cNvPr>
          <p:cNvPicPr>
            <a:picLocks noChangeAspect="1"/>
          </p:cNvPicPr>
          <p:nvPr userDrawn="1"/>
        </p:nvPicPr>
        <p:blipFill rotWithShape="1">
          <a:blip r:embed="rId5" cstate="print">
            <a:duotone>
              <a:schemeClr val="bg2">
                <a:shade val="45000"/>
                <a:satMod val="135000"/>
              </a:schemeClr>
              <a:prstClr val="white"/>
            </a:duotone>
            <a:extLst>
              <a:ext uri="{28A0092B-C50C-407E-A947-70E740481C1C}">
                <a14:useLocalDpi xmlns:a14="http://schemas.microsoft.com/office/drawing/2010/main" val="0"/>
              </a:ext>
            </a:extLst>
          </a:blip>
          <a:srcRect l="8284" t="8842"/>
          <a:stretch/>
        </p:blipFill>
        <p:spPr>
          <a:xfrm>
            <a:off x="0" y="-1"/>
            <a:ext cx="9162363" cy="6038199"/>
          </a:xfrm>
          <a:prstGeom prst="rect">
            <a:avLst/>
          </a:prstGeom>
        </p:spPr>
      </p:pic>
      <p:pic>
        <p:nvPicPr>
          <p:cNvPr id="5" name="Imagen 4">
            <a:extLst>
              <a:ext uri="{FF2B5EF4-FFF2-40B4-BE49-F238E27FC236}">
                <a16:creationId xmlns:a16="http://schemas.microsoft.com/office/drawing/2014/main" id="{32A4D6AB-C946-4E48-8AEA-653355D47301}"/>
              </a:ext>
            </a:extLst>
          </p:cNvPr>
          <p:cNvPicPr>
            <a:picLocks noChangeAspect="1"/>
          </p:cNvPicPr>
          <p:nvPr userDrawn="1"/>
        </p:nvPicPr>
        <p:blipFill rotWithShape="1">
          <a:blip r:embed="rId6"/>
          <a:srcRect l="1935" r="2804" b="1086"/>
          <a:stretch/>
        </p:blipFill>
        <p:spPr>
          <a:xfrm>
            <a:off x="-3865" y="1869140"/>
            <a:ext cx="9162363" cy="4988860"/>
          </a:xfrm>
          <a:prstGeom prst="rect">
            <a:avLst/>
          </a:prstGeom>
        </p:spPr>
      </p:pic>
    </p:spTree>
    <p:extLst>
      <p:ext uri="{BB962C8B-B14F-4D97-AF65-F5344CB8AC3E}">
        <p14:creationId xmlns:p14="http://schemas.microsoft.com/office/powerpoint/2010/main" val="7050205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Metodología">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340293EA-65D7-41AF-8C73-8085F2DAF0C2}"/>
              </a:ext>
            </a:extLst>
          </p:cNvPr>
          <p:cNvGraphicFramePr>
            <a:graphicFrameLocks noChangeAspect="1"/>
          </p:cNvGraphicFramePr>
          <p:nvPr userDrawn="1">
            <p:custDataLst>
              <p:tags r:id="rId1"/>
            </p:custDataLst>
            <p:extLst>
              <p:ext uri="{D42A27DB-BD31-4B8C-83A1-F6EECF244321}">
                <p14:modId xmlns:p14="http://schemas.microsoft.com/office/powerpoint/2010/main" val="893305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3" name="Objeto 2" hidden="1">
                        <a:extLst>
                          <a:ext uri="{FF2B5EF4-FFF2-40B4-BE49-F238E27FC236}">
                            <a16:creationId xmlns:a16="http://schemas.microsoft.com/office/drawing/2014/main" id="{340293EA-65D7-41AF-8C73-8085F2DAF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Forma libre: forma 44">
            <a:extLst>
              <a:ext uri="{FF2B5EF4-FFF2-40B4-BE49-F238E27FC236}">
                <a16:creationId xmlns:a16="http://schemas.microsoft.com/office/drawing/2014/main" id="{013A9F5B-41A0-4BCC-805E-538DF23EAF55}"/>
              </a:ext>
            </a:extLst>
          </p:cNvPr>
          <p:cNvSpPr/>
          <p:nvPr userDrawn="1"/>
        </p:nvSpPr>
        <p:spPr>
          <a:xfrm rot="738492">
            <a:off x="-442574" y="3025343"/>
            <a:ext cx="8368685" cy="3249959"/>
          </a:xfrm>
          <a:custGeom>
            <a:avLst/>
            <a:gdLst>
              <a:gd name="connsiteX0" fmla="*/ 462155 w 8368685"/>
              <a:gd name="connsiteY0" fmla="*/ 2118176 h 3249959"/>
              <a:gd name="connsiteX1" fmla="*/ 709093 w 8368685"/>
              <a:gd name="connsiteY1" fmla="*/ 3249959 h 3249959"/>
              <a:gd name="connsiteX2" fmla="*/ 709093 w 8368685"/>
              <a:gd name="connsiteY2" fmla="*/ 3249959 h 3249959"/>
              <a:gd name="connsiteX3" fmla="*/ 0 w 8368685"/>
              <a:gd name="connsiteY3" fmla="*/ 0 h 3249959"/>
              <a:gd name="connsiteX4" fmla="*/ 8368685 w 8368685"/>
              <a:gd name="connsiteY4" fmla="*/ 0 h 3249959"/>
              <a:gd name="connsiteX5" fmla="*/ 111668 w 8368685"/>
              <a:gd name="connsiteY5" fmla="*/ 511803 h 324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68685" h="3249959">
                <a:moveTo>
                  <a:pt x="462155" y="2118176"/>
                </a:moveTo>
                <a:lnTo>
                  <a:pt x="709093" y="3249959"/>
                </a:lnTo>
                <a:lnTo>
                  <a:pt x="709093" y="3249959"/>
                </a:lnTo>
                <a:close/>
                <a:moveTo>
                  <a:pt x="0" y="0"/>
                </a:moveTo>
                <a:lnTo>
                  <a:pt x="8368685" y="0"/>
                </a:lnTo>
                <a:lnTo>
                  <a:pt x="111668" y="511803"/>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4" name="Forma libre: forma 43">
            <a:extLst>
              <a:ext uri="{FF2B5EF4-FFF2-40B4-BE49-F238E27FC236}">
                <a16:creationId xmlns:a16="http://schemas.microsoft.com/office/drawing/2014/main" id="{366CA665-854E-4CC1-BE3E-AEA1D573D914}"/>
              </a:ext>
            </a:extLst>
          </p:cNvPr>
          <p:cNvSpPr/>
          <p:nvPr userDrawn="1"/>
        </p:nvSpPr>
        <p:spPr>
          <a:xfrm rot="618331">
            <a:off x="-97817" y="3246983"/>
            <a:ext cx="9199428" cy="263993"/>
          </a:xfrm>
          <a:custGeom>
            <a:avLst/>
            <a:gdLst>
              <a:gd name="connsiteX0" fmla="*/ 0 w 9199428"/>
              <a:gd name="connsiteY0" fmla="*/ 0 h 263993"/>
              <a:gd name="connsiteX1" fmla="*/ 9196763 w 9199428"/>
              <a:gd name="connsiteY1" fmla="*/ 0 h 263993"/>
              <a:gd name="connsiteX2" fmla="*/ 9199428 w 9199428"/>
              <a:gd name="connsiteY2" fmla="*/ 17290 h 263993"/>
              <a:gd name="connsiteX3" fmla="*/ 48002 w 9199428"/>
              <a:gd name="connsiteY3" fmla="*/ 263993 h 263993"/>
            </a:gdLst>
            <a:ahLst/>
            <a:cxnLst>
              <a:cxn ang="0">
                <a:pos x="connsiteX0" y="connsiteY0"/>
              </a:cxn>
              <a:cxn ang="0">
                <a:pos x="connsiteX1" y="connsiteY1"/>
              </a:cxn>
              <a:cxn ang="0">
                <a:pos x="connsiteX2" y="connsiteY2"/>
              </a:cxn>
              <a:cxn ang="0">
                <a:pos x="connsiteX3" y="connsiteY3"/>
              </a:cxn>
            </a:cxnLst>
            <a:rect l="l" t="t" r="r" b="b"/>
            <a:pathLst>
              <a:path w="9199428" h="263993">
                <a:moveTo>
                  <a:pt x="0" y="0"/>
                </a:moveTo>
                <a:lnTo>
                  <a:pt x="9196763" y="0"/>
                </a:lnTo>
                <a:lnTo>
                  <a:pt x="9199428" y="17290"/>
                </a:lnTo>
                <a:lnTo>
                  <a:pt x="48002" y="26399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4" name="Forma libre: forma 23">
            <a:extLst>
              <a:ext uri="{FF2B5EF4-FFF2-40B4-BE49-F238E27FC236}">
                <a16:creationId xmlns:a16="http://schemas.microsoft.com/office/drawing/2014/main" id="{5FDBDE62-8E4E-4C72-A6F5-E6C1A362D933}"/>
              </a:ext>
            </a:extLst>
          </p:cNvPr>
          <p:cNvSpPr/>
          <p:nvPr userDrawn="1"/>
        </p:nvSpPr>
        <p:spPr>
          <a:xfrm rot="525679">
            <a:off x="-301913" y="3385694"/>
            <a:ext cx="9323828" cy="3249959"/>
          </a:xfrm>
          <a:custGeom>
            <a:avLst/>
            <a:gdLst>
              <a:gd name="connsiteX0" fmla="*/ 0 w 9323828"/>
              <a:gd name="connsiteY0" fmla="*/ 0 h 3249959"/>
              <a:gd name="connsiteX1" fmla="*/ 9226661 w 9323828"/>
              <a:gd name="connsiteY1" fmla="*/ 0 h 3249959"/>
              <a:gd name="connsiteX2" fmla="*/ 9323828 w 9323828"/>
              <a:gd name="connsiteY2" fmla="*/ 630475 h 3249959"/>
              <a:gd name="connsiteX3" fmla="*/ 6123942 w 9323828"/>
              <a:gd name="connsiteY3" fmla="*/ 3249959 h 3249959"/>
              <a:gd name="connsiteX4" fmla="*/ 500874 w 9323828"/>
              <a:gd name="connsiteY4" fmla="*/ 3249959 h 324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3828" h="3249959">
                <a:moveTo>
                  <a:pt x="0" y="0"/>
                </a:moveTo>
                <a:lnTo>
                  <a:pt x="9226661" y="0"/>
                </a:lnTo>
                <a:lnTo>
                  <a:pt x="9323828" y="630475"/>
                </a:lnTo>
                <a:lnTo>
                  <a:pt x="6123942" y="3249959"/>
                </a:lnTo>
                <a:lnTo>
                  <a:pt x="500874" y="3249959"/>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10418CF9-8860-4EA6-8FA8-1A06B1F83942}"/>
              </a:ext>
            </a:extLst>
          </p:cNvPr>
          <p:cNvSpPr/>
          <p:nvPr userDrawn="1"/>
        </p:nvSpPr>
        <p:spPr>
          <a:xfrm rot="525679">
            <a:off x="-89355" y="4416977"/>
            <a:ext cx="8514049" cy="2195260"/>
          </a:xfrm>
          <a:custGeom>
            <a:avLst/>
            <a:gdLst>
              <a:gd name="connsiteX0" fmla="*/ 0 w 8514049"/>
              <a:gd name="connsiteY0" fmla="*/ 837109 h 2195260"/>
              <a:gd name="connsiteX1" fmla="*/ 6240843 w 8514049"/>
              <a:gd name="connsiteY1" fmla="*/ 352487 h 2195260"/>
              <a:gd name="connsiteX2" fmla="*/ 6421651 w 8514049"/>
              <a:gd name="connsiteY2" fmla="*/ 196645 h 2195260"/>
              <a:gd name="connsiteX3" fmla="*/ 8514049 w 8514049"/>
              <a:gd name="connsiteY3" fmla="*/ 0 h 2195260"/>
              <a:gd name="connsiteX4" fmla="*/ 5832382 w 8514049"/>
              <a:gd name="connsiteY4" fmla="*/ 2195260 h 2195260"/>
              <a:gd name="connsiteX5" fmla="*/ 209314 w 8514049"/>
              <a:gd name="connsiteY5" fmla="*/ 2195260 h 219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4049" h="2195260">
                <a:moveTo>
                  <a:pt x="0" y="837109"/>
                </a:moveTo>
                <a:lnTo>
                  <a:pt x="6240843" y="352487"/>
                </a:lnTo>
                <a:lnTo>
                  <a:pt x="6421651" y="196645"/>
                </a:lnTo>
                <a:lnTo>
                  <a:pt x="8514049" y="0"/>
                </a:lnTo>
                <a:lnTo>
                  <a:pt x="5832382" y="2195260"/>
                </a:lnTo>
                <a:lnTo>
                  <a:pt x="209314" y="2195260"/>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7" name="18 Marcador de texto"/>
          <p:cNvSpPr>
            <a:spLocks noGrp="1"/>
          </p:cNvSpPr>
          <p:nvPr>
            <p:ph type="body" sz="quarter" idx="11" hasCustomPrompt="1"/>
          </p:nvPr>
        </p:nvSpPr>
        <p:spPr>
          <a:xfrm>
            <a:off x="384460" y="4738207"/>
            <a:ext cx="4763604" cy="576709"/>
          </a:xfrm>
          <a:prstGeom prst="rect">
            <a:avLst/>
          </a:prstGeom>
        </p:spPr>
        <p:txBody>
          <a:bodyPr>
            <a:normAutofit/>
          </a:bodyPr>
          <a:lstStyle>
            <a:lvl1pPr marL="0" indent="0" algn="l">
              <a:buNone/>
              <a:defRPr sz="180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Subtítulo de la presentación</a:t>
            </a:r>
          </a:p>
        </p:txBody>
      </p:sp>
      <p:sp>
        <p:nvSpPr>
          <p:cNvPr id="18" name="21 Marcador de texto"/>
          <p:cNvSpPr>
            <a:spLocks noGrp="1"/>
          </p:cNvSpPr>
          <p:nvPr>
            <p:ph type="body" sz="quarter" idx="12" hasCustomPrompt="1"/>
          </p:nvPr>
        </p:nvSpPr>
        <p:spPr>
          <a:xfrm>
            <a:off x="384460" y="5454129"/>
            <a:ext cx="4763468" cy="432742"/>
          </a:xfrm>
          <a:prstGeom prst="rect">
            <a:avLst/>
          </a:prstGeom>
        </p:spPr>
        <p:txBody>
          <a:bodyPr>
            <a:normAutofit/>
          </a:bodyPr>
          <a:lstStyle>
            <a:lvl1pPr marL="0" indent="0" algn="l">
              <a:buNone/>
              <a:defRPr sz="1350">
                <a:solidFill>
                  <a:schemeClr val="bg1"/>
                </a:solidFill>
                <a:latin typeface="Calibri" panose="020F0502020204030204" pitchFamily="34" charset="0"/>
                <a:cs typeface="Calibri" panose="020F05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s-ES"/>
              <a:t>Fecha</a:t>
            </a:r>
          </a:p>
        </p:txBody>
      </p:sp>
      <p:sp>
        <p:nvSpPr>
          <p:cNvPr id="19" name="18 Marcador de texto"/>
          <p:cNvSpPr>
            <a:spLocks noGrp="1"/>
          </p:cNvSpPr>
          <p:nvPr>
            <p:ph type="body" sz="quarter" idx="13" hasCustomPrompt="1"/>
          </p:nvPr>
        </p:nvSpPr>
        <p:spPr>
          <a:xfrm>
            <a:off x="384460" y="3645023"/>
            <a:ext cx="4763604" cy="1008113"/>
          </a:xfrm>
          <a:prstGeom prst="rect">
            <a:avLst/>
          </a:prstGeom>
        </p:spPr>
        <p:txBody>
          <a:bodyPr>
            <a:normAutofit/>
          </a:bodyPr>
          <a:lstStyle>
            <a:lvl1pPr marL="0" indent="0" algn="l">
              <a:spcBef>
                <a:spcPts val="300"/>
              </a:spcBef>
              <a:buNone/>
              <a:defRPr sz="2700" b="1" baseline="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Título de la presentación</a:t>
            </a:r>
          </a:p>
        </p:txBody>
      </p:sp>
      <p:cxnSp>
        <p:nvCxnSpPr>
          <p:cNvPr id="34" name="Conector recto 33">
            <a:extLst>
              <a:ext uri="{FF2B5EF4-FFF2-40B4-BE49-F238E27FC236}">
                <a16:creationId xmlns:a16="http://schemas.microsoft.com/office/drawing/2014/main" id="{85337176-BD36-4C18-8450-3A72C0339CB4}"/>
              </a:ext>
            </a:extLst>
          </p:cNvPr>
          <p:cNvCxnSpPr>
            <a:cxnSpLocks/>
          </p:cNvCxnSpPr>
          <p:nvPr userDrawn="1"/>
        </p:nvCxnSpPr>
        <p:spPr>
          <a:xfrm>
            <a:off x="375658" y="4653136"/>
            <a:ext cx="478523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Forma libre: forma 21">
            <a:extLst>
              <a:ext uri="{FF2B5EF4-FFF2-40B4-BE49-F238E27FC236}">
                <a16:creationId xmlns:a16="http://schemas.microsoft.com/office/drawing/2014/main" id="{F60A80F9-AB66-444B-9F10-03F73C21F701}"/>
              </a:ext>
            </a:extLst>
          </p:cNvPr>
          <p:cNvSpPr/>
          <p:nvPr userDrawn="1"/>
        </p:nvSpPr>
        <p:spPr>
          <a:xfrm rot="14536795">
            <a:off x="5470462" y="2152845"/>
            <a:ext cx="3059500" cy="6451098"/>
          </a:xfrm>
          <a:custGeom>
            <a:avLst/>
            <a:gdLst>
              <a:gd name="connsiteX0" fmla="*/ 3059500 w 3059500"/>
              <a:gd name="connsiteY0" fmla="*/ 6451098 h 6451098"/>
              <a:gd name="connsiteX1" fmla="*/ 0 w 3059500"/>
              <a:gd name="connsiteY1" fmla="*/ 4843457 h 6451098"/>
              <a:gd name="connsiteX2" fmla="*/ 793198 w 3059500"/>
              <a:gd name="connsiteY2" fmla="*/ 1446374 h 6451098"/>
              <a:gd name="connsiteX3" fmla="*/ 1553208 w 3059500"/>
              <a:gd name="connsiteY3" fmla="*/ 0 h 6451098"/>
            </a:gdLst>
            <a:ahLst/>
            <a:cxnLst>
              <a:cxn ang="0">
                <a:pos x="connsiteX0" y="connsiteY0"/>
              </a:cxn>
              <a:cxn ang="0">
                <a:pos x="connsiteX1" y="connsiteY1"/>
              </a:cxn>
              <a:cxn ang="0">
                <a:pos x="connsiteX2" y="connsiteY2"/>
              </a:cxn>
              <a:cxn ang="0">
                <a:pos x="connsiteX3" y="connsiteY3"/>
              </a:cxn>
            </a:cxnLst>
            <a:rect l="l" t="t" r="r" b="b"/>
            <a:pathLst>
              <a:path w="3059500" h="6451098">
                <a:moveTo>
                  <a:pt x="3059500" y="6451098"/>
                </a:moveTo>
                <a:lnTo>
                  <a:pt x="0" y="4843457"/>
                </a:lnTo>
                <a:lnTo>
                  <a:pt x="793198" y="1446374"/>
                </a:lnTo>
                <a:lnTo>
                  <a:pt x="1553208"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6" name="3 Marcador de texto">
            <a:extLst>
              <a:ext uri="{FF2B5EF4-FFF2-40B4-BE49-F238E27FC236}">
                <a16:creationId xmlns:a16="http://schemas.microsoft.com/office/drawing/2014/main" id="{9B33E1CA-DBE8-482D-9C59-13DBD446C0E9}"/>
              </a:ext>
            </a:extLst>
          </p:cNvPr>
          <p:cNvSpPr txBox="1">
            <a:spLocks/>
          </p:cNvSpPr>
          <p:nvPr userDrawn="1"/>
        </p:nvSpPr>
        <p:spPr>
          <a:xfrm>
            <a:off x="251520" y="393779"/>
            <a:ext cx="7210121" cy="1728188"/>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4000" kern="1200">
                <a:solidFill>
                  <a:schemeClr val="accent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Ø"/>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Courier New" pitchFamily="49" charset="0"/>
              <a:buChar char="o"/>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defRPr/>
            </a:pPr>
            <a:r>
              <a:rPr lang="es-ES" sz="5400" b="1">
                <a:solidFill>
                  <a:schemeClr val="accent2"/>
                </a:solidFill>
                <a:latin typeface="+mj-lt"/>
                <a:cs typeface="Arial" panose="020B0604020202020204" pitchFamily="34" charset="0"/>
              </a:rPr>
              <a:t>Metodología</a:t>
            </a:r>
          </a:p>
        </p:txBody>
      </p:sp>
      <p:sp>
        <p:nvSpPr>
          <p:cNvPr id="26" name="Rectángulo 25">
            <a:extLst>
              <a:ext uri="{FF2B5EF4-FFF2-40B4-BE49-F238E27FC236}">
                <a16:creationId xmlns:a16="http://schemas.microsoft.com/office/drawing/2014/main" id="{53AFDEDA-D813-434E-94D2-BEF31A2AD9DC}"/>
              </a:ext>
            </a:extLst>
          </p:cNvPr>
          <p:cNvSpPr/>
          <p:nvPr userDrawn="1"/>
        </p:nvSpPr>
        <p:spPr>
          <a:xfrm>
            <a:off x="1" y="6517050"/>
            <a:ext cx="1199456" cy="153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b="1">
              <a:solidFill>
                <a:schemeClr val="bg1"/>
              </a:solidFill>
            </a:endParaRPr>
          </a:p>
        </p:txBody>
      </p:sp>
      <p:pic>
        <p:nvPicPr>
          <p:cNvPr id="14" name="Imagen 13">
            <a:extLst>
              <a:ext uri="{FF2B5EF4-FFF2-40B4-BE49-F238E27FC236}">
                <a16:creationId xmlns:a16="http://schemas.microsoft.com/office/drawing/2014/main" id="{EFB6B423-85DF-4F63-8523-30EF0903D86F}"/>
              </a:ext>
            </a:extLst>
          </p:cNvPr>
          <p:cNvPicPr/>
          <p:nvPr userDrawn="1"/>
        </p:nvPicPr>
        <p:blipFill>
          <a:blip r:embed="rId5"/>
          <a:stretch>
            <a:fillRect/>
          </a:stretch>
        </p:blipFill>
        <p:spPr>
          <a:xfrm>
            <a:off x="3677317" y="6444125"/>
            <a:ext cx="1789366" cy="323790"/>
          </a:xfrm>
          <a:prstGeom prst="rect">
            <a:avLst/>
          </a:prstGeom>
        </p:spPr>
      </p:pic>
    </p:spTree>
    <p:extLst>
      <p:ext uri="{BB962C8B-B14F-4D97-AF65-F5344CB8AC3E}">
        <p14:creationId xmlns:p14="http://schemas.microsoft.com/office/powerpoint/2010/main" val="11804239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ítulo Metodología">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340293EA-65D7-41AF-8C73-8085F2DAF0C2}"/>
              </a:ext>
            </a:extLst>
          </p:cNvPr>
          <p:cNvGraphicFramePr>
            <a:graphicFrameLocks noChangeAspect="1"/>
          </p:cNvGraphicFramePr>
          <p:nvPr userDrawn="1">
            <p:custDataLst>
              <p:tags r:id="rId1"/>
            </p:custDataLst>
            <p:extLst>
              <p:ext uri="{D42A27DB-BD31-4B8C-83A1-F6EECF244321}">
                <p14:modId xmlns:p14="http://schemas.microsoft.com/office/powerpoint/2010/main" val="190215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3" name="Objeto 2" hidden="1">
                        <a:extLst>
                          <a:ext uri="{FF2B5EF4-FFF2-40B4-BE49-F238E27FC236}">
                            <a16:creationId xmlns:a16="http://schemas.microsoft.com/office/drawing/2014/main" id="{340293EA-65D7-41AF-8C73-8085F2DAF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Forma libre: forma 44">
            <a:extLst>
              <a:ext uri="{FF2B5EF4-FFF2-40B4-BE49-F238E27FC236}">
                <a16:creationId xmlns:a16="http://schemas.microsoft.com/office/drawing/2014/main" id="{013A9F5B-41A0-4BCC-805E-538DF23EAF55}"/>
              </a:ext>
            </a:extLst>
          </p:cNvPr>
          <p:cNvSpPr/>
          <p:nvPr userDrawn="1"/>
        </p:nvSpPr>
        <p:spPr>
          <a:xfrm rot="738492">
            <a:off x="-442574" y="3025343"/>
            <a:ext cx="8368685" cy="3249959"/>
          </a:xfrm>
          <a:custGeom>
            <a:avLst/>
            <a:gdLst>
              <a:gd name="connsiteX0" fmla="*/ 462155 w 8368685"/>
              <a:gd name="connsiteY0" fmla="*/ 2118176 h 3249959"/>
              <a:gd name="connsiteX1" fmla="*/ 709093 w 8368685"/>
              <a:gd name="connsiteY1" fmla="*/ 3249959 h 3249959"/>
              <a:gd name="connsiteX2" fmla="*/ 709093 w 8368685"/>
              <a:gd name="connsiteY2" fmla="*/ 3249959 h 3249959"/>
              <a:gd name="connsiteX3" fmla="*/ 0 w 8368685"/>
              <a:gd name="connsiteY3" fmla="*/ 0 h 3249959"/>
              <a:gd name="connsiteX4" fmla="*/ 8368685 w 8368685"/>
              <a:gd name="connsiteY4" fmla="*/ 0 h 3249959"/>
              <a:gd name="connsiteX5" fmla="*/ 111668 w 8368685"/>
              <a:gd name="connsiteY5" fmla="*/ 511803 h 324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68685" h="3249959">
                <a:moveTo>
                  <a:pt x="462155" y="2118176"/>
                </a:moveTo>
                <a:lnTo>
                  <a:pt x="709093" y="3249959"/>
                </a:lnTo>
                <a:lnTo>
                  <a:pt x="709093" y="3249959"/>
                </a:lnTo>
                <a:close/>
                <a:moveTo>
                  <a:pt x="0" y="0"/>
                </a:moveTo>
                <a:lnTo>
                  <a:pt x="8368685" y="0"/>
                </a:lnTo>
                <a:lnTo>
                  <a:pt x="111668" y="511803"/>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4" name="Forma libre: forma 43">
            <a:extLst>
              <a:ext uri="{FF2B5EF4-FFF2-40B4-BE49-F238E27FC236}">
                <a16:creationId xmlns:a16="http://schemas.microsoft.com/office/drawing/2014/main" id="{366CA665-854E-4CC1-BE3E-AEA1D573D914}"/>
              </a:ext>
            </a:extLst>
          </p:cNvPr>
          <p:cNvSpPr/>
          <p:nvPr userDrawn="1"/>
        </p:nvSpPr>
        <p:spPr>
          <a:xfrm rot="618331">
            <a:off x="-97817" y="3246983"/>
            <a:ext cx="9199428" cy="263993"/>
          </a:xfrm>
          <a:custGeom>
            <a:avLst/>
            <a:gdLst>
              <a:gd name="connsiteX0" fmla="*/ 0 w 9199428"/>
              <a:gd name="connsiteY0" fmla="*/ 0 h 263993"/>
              <a:gd name="connsiteX1" fmla="*/ 9196763 w 9199428"/>
              <a:gd name="connsiteY1" fmla="*/ 0 h 263993"/>
              <a:gd name="connsiteX2" fmla="*/ 9199428 w 9199428"/>
              <a:gd name="connsiteY2" fmla="*/ 17290 h 263993"/>
              <a:gd name="connsiteX3" fmla="*/ 48002 w 9199428"/>
              <a:gd name="connsiteY3" fmla="*/ 263993 h 263993"/>
            </a:gdLst>
            <a:ahLst/>
            <a:cxnLst>
              <a:cxn ang="0">
                <a:pos x="connsiteX0" y="connsiteY0"/>
              </a:cxn>
              <a:cxn ang="0">
                <a:pos x="connsiteX1" y="connsiteY1"/>
              </a:cxn>
              <a:cxn ang="0">
                <a:pos x="connsiteX2" y="connsiteY2"/>
              </a:cxn>
              <a:cxn ang="0">
                <a:pos x="connsiteX3" y="connsiteY3"/>
              </a:cxn>
            </a:cxnLst>
            <a:rect l="l" t="t" r="r" b="b"/>
            <a:pathLst>
              <a:path w="9199428" h="263993">
                <a:moveTo>
                  <a:pt x="0" y="0"/>
                </a:moveTo>
                <a:lnTo>
                  <a:pt x="9196763" y="0"/>
                </a:lnTo>
                <a:lnTo>
                  <a:pt x="9199428" y="17290"/>
                </a:lnTo>
                <a:lnTo>
                  <a:pt x="48002" y="26399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4" name="Forma libre: forma 23">
            <a:extLst>
              <a:ext uri="{FF2B5EF4-FFF2-40B4-BE49-F238E27FC236}">
                <a16:creationId xmlns:a16="http://schemas.microsoft.com/office/drawing/2014/main" id="{5FDBDE62-8E4E-4C72-A6F5-E6C1A362D933}"/>
              </a:ext>
            </a:extLst>
          </p:cNvPr>
          <p:cNvSpPr/>
          <p:nvPr userDrawn="1"/>
        </p:nvSpPr>
        <p:spPr>
          <a:xfrm rot="525679">
            <a:off x="-301913" y="3385694"/>
            <a:ext cx="9323828" cy="3249959"/>
          </a:xfrm>
          <a:custGeom>
            <a:avLst/>
            <a:gdLst>
              <a:gd name="connsiteX0" fmla="*/ 0 w 9323828"/>
              <a:gd name="connsiteY0" fmla="*/ 0 h 3249959"/>
              <a:gd name="connsiteX1" fmla="*/ 9226661 w 9323828"/>
              <a:gd name="connsiteY1" fmla="*/ 0 h 3249959"/>
              <a:gd name="connsiteX2" fmla="*/ 9323828 w 9323828"/>
              <a:gd name="connsiteY2" fmla="*/ 630475 h 3249959"/>
              <a:gd name="connsiteX3" fmla="*/ 6123942 w 9323828"/>
              <a:gd name="connsiteY3" fmla="*/ 3249959 h 3249959"/>
              <a:gd name="connsiteX4" fmla="*/ 500874 w 9323828"/>
              <a:gd name="connsiteY4" fmla="*/ 3249959 h 324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3828" h="3249959">
                <a:moveTo>
                  <a:pt x="0" y="0"/>
                </a:moveTo>
                <a:lnTo>
                  <a:pt x="9226661" y="0"/>
                </a:lnTo>
                <a:lnTo>
                  <a:pt x="9323828" y="630475"/>
                </a:lnTo>
                <a:lnTo>
                  <a:pt x="6123942" y="3249959"/>
                </a:lnTo>
                <a:lnTo>
                  <a:pt x="500874" y="3249959"/>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10418CF9-8860-4EA6-8FA8-1A06B1F83942}"/>
              </a:ext>
            </a:extLst>
          </p:cNvPr>
          <p:cNvSpPr/>
          <p:nvPr userDrawn="1"/>
        </p:nvSpPr>
        <p:spPr>
          <a:xfrm rot="525679">
            <a:off x="-89355" y="4416977"/>
            <a:ext cx="8514049" cy="2195260"/>
          </a:xfrm>
          <a:custGeom>
            <a:avLst/>
            <a:gdLst>
              <a:gd name="connsiteX0" fmla="*/ 0 w 8514049"/>
              <a:gd name="connsiteY0" fmla="*/ 837109 h 2195260"/>
              <a:gd name="connsiteX1" fmla="*/ 6240843 w 8514049"/>
              <a:gd name="connsiteY1" fmla="*/ 352487 h 2195260"/>
              <a:gd name="connsiteX2" fmla="*/ 6421651 w 8514049"/>
              <a:gd name="connsiteY2" fmla="*/ 196645 h 2195260"/>
              <a:gd name="connsiteX3" fmla="*/ 8514049 w 8514049"/>
              <a:gd name="connsiteY3" fmla="*/ 0 h 2195260"/>
              <a:gd name="connsiteX4" fmla="*/ 5832382 w 8514049"/>
              <a:gd name="connsiteY4" fmla="*/ 2195260 h 2195260"/>
              <a:gd name="connsiteX5" fmla="*/ 209314 w 8514049"/>
              <a:gd name="connsiteY5" fmla="*/ 2195260 h 219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4049" h="2195260">
                <a:moveTo>
                  <a:pt x="0" y="837109"/>
                </a:moveTo>
                <a:lnTo>
                  <a:pt x="6240843" y="352487"/>
                </a:lnTo>
                <a:lnTo>
                  <a:pt x="6421651" y="196645"/>
                </a:lnTo>
                <a:lnTo>
                  <a:pt x="8514049" y="0"/>
                </a:lnTo>
                <a:lnTo>
                  <a:pt x="5832382" y="2195260"/>
                </a:lnTo>
                <a:lnTo>
                  <a:pt x="209314" y="2195260"/>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7" name="18 Marcador de texto"/>
          <p:cNvSpPr>
            <a:spLocks noGrp="1"/>
          </p:cNvSpPr>
          <p:nvPr>
            <p:ph type="body" sz="quarter" idx="11" hasCustomPrompt="1"/>
          </p:nvPr>
        </p:nvSpPr>
        <p:spPr>
          <a:xfrm>
            <a:off x="384460" y="4738207"/>
            <a:ext cx="4763604" cy="576709"/>
          </a:xfrm>
          <a:prstGeom prst="rect">
            <a:avLst/>
          </a:prstGeom>
        </p:spPr>
        <p:txBody>
          <a:bodyPr>
            <a:normAutofit/>
          </a:bodyPr>
          <a:lstStyle>
            <a:lvl1pPr marL="0" indent="0" algn="l">
              <a:buNone/>
              <a:defRPr sz="180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Subtítulo de la presentación</a:t>
            </a:r>
          </a:p>
        </p:txBody>
      </p:sp>
      <p:sp>
        <p:nvSpPr>
          <p:cNvPr id="18" name="21 Marcador de texto"/>
          <p:cNvSpPr>
            <a:spLocks noGrp="1"/>
          </p:cNvSpPr>
          <p:nvPr>
            <p:ph type="body" sz="quarter" idx="12" hasCustomPrompt="1"/>
          </p:nvPr>
        </p:nvSpPr>
        <p:spPr>
          <a:xfrm>
            <a:off x="384460" y="5454129"/>
            <a:ext cx="4763468" cy="432742"/>
          </a:xfrm>
          <a:prstGeom prst="rect">
            <a:avLst/>
          </a:prstGeom>
        </p:spPr>
        <p:txBody>
          <a:bodyPr>
            <a:normAutofit/>
          </a:bodyPr>
          <a:lstStyle>
            <a:lvl1pPr marL="0" indent="0" algn="l">
              <a:buNone/>
              <a:defRPr sz="1350">
                <a:solidFill>
                  <a:schemeClr val="bg1"/>
                </a:solidFill>
                <a:latin typeface="Calibri" panose="020F0502020204030204" pitchFamily="34" charset="0"/>
                <a:cs typeface="Calibri" panose="020F05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s-ES"/>
              <a:t>Fecha</a:t>
            </a:r>
          </a:p>
        </p:txBody>
      </p:sp>
      <p:sp>
        <p:nvSpPr>
          <p:cNvPr id="19" name="18 Marcador de texto"/>
          <p:cNvSpPr>
            <a:spLocks noGrp="1"/>
          </p:cNvSpPr>
          <p:nvPr>
            <p:ph type="body" sz="quarter" idx="13" hasCustomPrompt="1"/>
          </p:nvPr>
        </p:nvSpPr>
        <p:spPr>
          <a:xfrm>
            <a:off x="384460" y="3645023"/>
            <a:ext cx="4763604" cy="1008113"/>
          </a:xfrm>
          <a:prstGeom prst="rect">
            <a:avLst/>
          </a:prstGeom>
        </p:spPr>
        <p:txBody>
          <a:bodyPr>
            <a:normAutofit/>
          </a:bodyPr>
          <a:lstStyle>
            <a:lvl1pPr marL="0" indent="0" algn="l">
              <a:spcBef>
                <a:spcPts val="300"/>
              </a:spcBef>
              <a:buNone/>
              <a:defRPr sz="2700" b="1" baseline="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Título de la presentación</a:t>
            </a:r>
          </a:p>
        </p:txBody>
      </p:sp>
      <p:cxnSp>
        <p:nvCxnSpPr>
          <p:cNvPr id="34" name="Conector recto 33">
            <a:extLst>
              <a:ext uri="{FF2B5EF4-FFF2-40B4-BE49-F238E27FC236}">
                <a16:creationId xmlns:a16="http://schemas.microsoft.com/office/drawing/2014/main" id="{85337176-BD36-4C18-8450-3A72C0339CB4}"/>
              </a:ext>
            </a:extLst>
          </p:cNvPr>
          <p:cNvCxnSpPr>
            <a:cxnSpLocks/>
          </p:cNvCxnSpPr>
          <p:nvPr userDrawn="1"/>
        </p:nvCxnSpPr>
        <p:spPr>
          <a:xfrm>
            <a:off x="375658" y="4653136"/>
            <a:ext cx="478523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Forma libre: forma 21">
            <a:extLst>
              <a:ext uri="{FF2B5EF4-FFF2-40B4-BE49-F238E27FC236}">
                <a16:creationId xmlns:a16="http://schemas.microsoft.com/office/drawing/2014/main" id="{F60A80F9-AB66-444B-9F10-03F73C21F701}"/>
              </a:ext>
            </a:extLst>
          </p:cNvPr>
          <p:cNvSpPr/>
          <p:nvPr userDrawn="1"/>
        </p:nvSpPr>
        <p:spPr>
          <a:xfrm rot="14536795">
            <a:off x="5470462" y="2152845"/>
            <a:ext cx="3059500" cy="6451098"/>
          </a:xfrm>
          <a:custGeom>
            <a:avLst/>
            <a:gdLst>
              <a:gd name="connsiteX0" fmla="*/ 3059500 w 3059500"/>
              <a:gd name="connsiteY0" fmla="*/ 6451098 h 6451098"/>
              <a:gd name="connsiteX1" fmla="*/ 0 w 3059500"/>
              <a:gd name="connsiteY1" fmla="*/ 4843457 h 6451098"/>
              <a:gd name="connsiteX2" fmla="*/ 793198 w 3059500"/>
              <a:gd name="connsiteY2" fmla="*/ 1446374 h 6451098"/>
              <a:gd name="connsiteX3" fmla="*/ 1553208 w 3059500"/>
              <a:gd name="connsiteY3" fmla="*/ 0 h 6451098"/>
            </a:gdLst>
            <a:ahLst/>
            <a:cxnLst>
              <a:cxn ang="0">
                <a:pos x="connsiteX0" y="connsiteY0"/>
              </a:cxn>
              <a:cxn ang="0">
                <a:pos x="connsiteX1" y="connsiteY1"/>
              </a:cxn>
              <a:cxn ang="0">
                <a:pos x="connsiteX2" y="connsiteY2"/>
              </a:cxn>
              <a:cxn ang="0">
                <a:pos x="connsiteX3" y="connsiteY3"/>
              </a:cxn>
            </a:cxnLst>
            <a:rect l="l" t="t" r="r" b="b"/>
            <a:pathLst>
              <a:path w="3059500" h="6451098">
                <a:moveTo>
                  <a:pt x="3059500" y="6451098"/>
                </a:moveTo>
                <a:lnTo>
                  <a:pt x="0" y="4843457"/>
                </a:lnTo>
                <a:lnTo>
                  <a:pt x="793198" y="1446374"/>
                </a:lnTo>
                <a:lnTo>
                  <a:pt x="1553208"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6" name="3 Marcador de texto">
            <a:extLst>
              <a:ext uri="{FF2B5EF4-FFF2-40B4-BE49-F238E27FC236}">
                <a16:creationId xmlns:a16="http://schemas.microsoft.com/office/drawing/2014/main" id="{9B33E1CA-DBE8-482D-9C59-13DBD446C0E9}"/>
              </a:ext>
            </a:extLst>
          </p:cNvPr>
          <p:cNvSpPr txBox="1">
            <a:spLocks/>
          </p:cNvSpPr>
          <p:nvPr userDrawn="1"/>
        </p:nvSpPr>
        <p:spPr>
          <a:xfrm>
            <a:off x="251520" y="393779"/>
            <a:ext cx="7210121" cy="1728188"/>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4000" kern="1200">
                <a:solidFill>
                  <a:schemeClr val="accent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Ø"/>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Courier New" pitchFamily="49" charset="0"/>
              <a:buChar char="o"/>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defRPr/>
            </a:pPr>
            <a:r>
              <a:rPr lang="es-ES" sz="5400" b="1">
                <a:solidFill>
                  <a:schemeClr val="accent2"/>
                </a:solidFill>
                <a:latin typeface="+mj-lt"/>
                <a:cs typeface="Arial" panose="020B0604020202020204" pitchFamily="34" charset="0"/>
              </a:rPr>
              <a:t>Metodología</a:t>
            </a:r>
          </a:p>
        </p:txBody>
      </p:sp>
      <p:sp>
        <p:nvSpPr>
          <p:cNvPr id="26" name="Rectángulo 25">
            <a:extLst>
              <a:ext uri="{FF2B5EF4-FFF2-40B4-BE49-F238E27FC236}">
                <a16:creationId xmlns:a16="http://schemas.microsoft.com/office/drawing/2014/main" id="{53AFDEDA-D813-434E-94D2-BEF31A2AD9DC}"/>
              </a:ext>
            </a:extLst>
          </p:cNvPr>
          <p:cNvSpPr/>
          <p:nvPr userDrawn="1"/>
        </p:nvSpPr>
        <p:spPr>
          <a:xfrm>
            <a:off x="1" y="6517050"/>
            <a:ext cx="1199456" cy="153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b="1">
              <a:solidFill>
                <a:schemeClr val="bg1"/>
              </a:solidFill>
            </a:endParaRPr>
          </a:p>
        </p:txBody>
      </p:sp>
      <p:pic>
        <p:nvPicPr>
          <p:cNvPr id="14" name="Imagen 13">
            <a:extLst>
              <a:ext uri="{FF2B5EF4-FFF2-40B4-BE49-F238E27FC236}">
                <a16:creationId xmlns:a16="http://schemas.microsoft.com/office/drawing/2014/main" id="{EFB6B423-85DF-4F63-8523-30EF0903D86F}"/>
              </a:ext>
            </a:extLst>
          </p:cNvPr>
          <p:cNvPicPr/>
          <p:nvPr userDrawn="1"/>
        </p:nvPicPr>
        <p:blipFill>
          <a:blip r:embed="rId5"/>
          <a:stretch>
            <a:fillRect/>
          </a:stretch>
        </p:blipFill>
        <p:spPr>
          <a:xfrm>
            <a:off x="3677317" y="6444125"/>
            <a:ext cx="1789366" cy="323790"/>
          </a:xfrm>
          <a:prstGeom prst="rect">
            <a:avLst/>
          </a:prstGeom>
        </p:spPr>
      </p:pic>
    </p:spTree>
    <p:extLst>
      <p:ext uri="{BB962C8B-B14F-4D97-AF65-F5344CB8AC3E}">
        <p14:creationId xmlns:p14="http://schemas.microsoft.com/office/powerpoint/2010/main" val="2184622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ítulo Estrategia">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340293EA-65D7-41AF-8C73-8085F2DAF0C2}"/>
              </a:ext>
            </a:extLst>
          </p:cNvPr>
          <p:cNvGraphicFramePr>
            <a:graphicFrameLocks noChangeAspect="1"/>
          </p:cNvGraphicFramePr>
          <p:nvPr userDrawn="1">
            <p:custDataLst>
              <p:tags r:id="rId1"/>
            </p:custDataLst>
            <p:extLst>
              <p:ext uri="{D42A27DB-BD31-4B8C-83A1-F6EECF244321}">
                <p14:modId xmlns:p14="http://schemas.microsoft.com/office/powerpoint/2010/main" val="2979093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3" name="Objeto 2" hidden="1">
                        <a:extLst>
                          <a:ext uri="{FF2B5EF4-FFF2-40B4-BE49-F238E27FC236}">
                            <a16:creationId xmlns:a16="http://schemas.microsoft.com/office/drawing/2014/main" id="{340293EA-65D7-41AF-8C73-8085F2DAF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Forma libre: forma 44">
            <a:extLst>
              <a:ext uri="{FF2B5EF4-FFF2-40B4-BE49-F238E27FC236}">
                <a16:creationId xmlns:a16="http://schemas.microsoft.com/office/drawing/2014/main" id="{013A9F5B-41A0-4BCC-805E-538DF23EAF55}"/>
              </a:ext>
            </a:extLst>
          </p:cNvPr>
          <p:cNvSpPr/>
          <p:nvPr userDrawn="1"/>
        </p:nvSpPr>
        <p:spPr>
          <a:xfrm rot="738492">
            <a:off x="-442574" y="3025343"/>
            <a:ext cx="8368685" cy="3249959"/>
          </a:xfrm>
          <a:custGeom>
            <a:avLst/>
            <a:gdLst>
              <a:gd name="connsiteX0" fmla="*/ 462155 w 8368685"/>
              <a:gd name="connsiteY0" fmla="*/ 2118176 h 3249959"/>
              <a:gd name="connsiteX1" fmla="*/ 709093 w 8368685"/>
              <a:gd name="connsiteY1" fmla="*/ 3249959 h 3249959"/>
              <a:gd name="connsiteX2" fmla="*/ 709093 w 8368685"/>
              <a:gd name="connsiteY2" fmla="*/ 3249959 h 3249959"/>
              <a:gd name="connsiteX3" fmla="*/ 0 w 8368685"/>
              <a:gd name="connsiteY3" fmla="*/ 0 h 3249959"/>
              <a:gd name="connsiteX4" fmla="*/ 8368685 w 8368685"/>
              <a:gd name="connsiteY4" fmla="*/ 0 h 3249959"/>
              <a:gd name="connsiteX5" fmla="*/ 111668 w 8368685"/>
              <a:gd name="connsiteY5" fmla="*/ 511803 h 324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68685" h="3249959">
                <a:moveTo>
                  <a:pt x="462155" y="2118176"/>
                </a:moveTo>
                <a:lnTo>
                  <a:pt x="709093" y="3249959"/>
                </a:lnTo>
                <a:lnTo>
                  <a:pt x="709093" y="3249959"/>
                </a:lnTo>
                <a:close/>
                <a:moveTo>
                  <a:pt x="0" y="0"/>
                </a:moveTo>
                <a:lnTo>
                  <a:pt x="8368685" y="0"/>
                </a:lnTo>
                <a:lnTo>
                  <a:pt x="111668" y="511803"/>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4" name="Forma libre: forma 43">
            <a:extLst>
              <a:ext uri="{FF2B5EF4-FFF2-40B4-BE49-F238E27FC236}">
                <a16:creationId xmlns:a16="http://schemas.microsoft.com/office/drawing/2014/main" id="{366CA665-854E-4CC1-BE3E-AEA1D573D914}"/>
              </a:ext>
            </a:extLst>
          </p:cNvPr>
          <p:cNvSpPr/>
          <p:nvPr userDrawn="1"/>
        </p:nvSpPr>
        <p:spPr>
          <a:xfrm rot="618331">
            <a:off x="-97817" y="3246983"/>
            <a:ext cx="9199428" cy="263993"/>
          </a:xfrm>
          <a:custGeom>
            <a:avLst/>
            <a:gdLst>
              <a:gd name="connsiteX0" fmla="*/ 0 w 9199428"/>
              <a:gd name="connsiteY0" fmla="*/ 0 h 263993"/>
              <a:gd name="connsiteX1" fmla="*/ 9196763 w 9199428"/>
              <a:gd name="connsiteY1" fmla="*/ 0 h 263993"/>
              <a:gd name="connsiteX2" fmla="*/ 9199428 w 9199428"/>
              <a:gd name="connsiteY2" fmla="*/ 17290 h 263993"/>
              <a:gd name="connsiteX3" fmla="*/ 48002 w 9199428"/>
              <a:gd name="connsiteY3" fmla="*/ 263993 h 263993"/>
            </a:gdLst>
            <a:ahLst/>
            <a:cxnLst>
              <a:cxn ang="0">
                <a:pos x="connsiteX0" y="connsiteY0"/>
              </a:cxn>
              <a:cxn ang="0">
                <a:pos x="connsiteX1" y="connsiteY1"/>
              </a:cxn>
              <a:cxn ang="0">
                <a:pos x="connsiteX2" y="connsiteY2"/>
              </a:cxn>
              <a:cxn ang="0">
                <a:pos x="connsiteX3" y="connsiteY3"/>
              </a:cxn>
            </a:cxnLst>
            <a:rect l="l" t="t" r="r" b="b"/>
            <a:pathLst>
              <a:path w="9199428" h="263993">
                <a:moveTo>
                  <a:pt x="0" y="0"/>
                </a:moveTo>
                <a:lnTo>
                  <a:pt x="9196763" y="0"/>
                </a:lnTo>
                <a:lnTo>
                  <a:pt x="9199428" y="17290"/>
                </a:lnTo>
                <a:lnTo>
                  <a:pt x="48002" y="26399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4" name="Forma libre: forma 23">
            <a:extLst>
              <a:ext uri="{FF2B5EF4-FFF2-40B4-BE49-F238E27FC236}">
                <a16:creationId xmlns:a16="http://schemas.microsoft.com/office/drawing/2014/main" id="{5FDBDE62-8E4E-4C72-A6F5-E6C1A362D933}"/>
              </a:ext>
            </a:extLst>
          </p:cNvPr>
          <p:cNvSpPr/>
          <p:nvPr userDrawn="1"/>
        </p:nvSpPr>
        <p:spPr>
          <a:xfrm rot="525679">
            <a:off x="-301913" y="3385694"/>
            <a:ext cx="9323828" cy="3249959"/>
          </a:xfrm>
          <a:custGeom>
            <a:avLst/>
            <a:gdLst>
              <a:gd name="connsiteX0" fmla="*/ 0 w 9323828"/>
              <a:gd name="connsiteY0" fmla="*/ 0 h 3249959"/>
              <a:gd name="connsiteX1" fmla="*/ 9226661 w 9323828"/>
              <a:gd name="connsiteY1" fmla="*/ 0 h 3249959"/>
              <a:gd name="connsiteX2" fmla="*/ 9323828 w 9323828"/>
              <a:gd name="connsiteY2" fmla="*/ 630475 h 3249959"/>
              <a:gd name="connsiteX3" fmla="*/ 6123942 w 9323828"/>
              <a:gd name="connsiteY3" fmla="*/ 3249959 h 3249959"/>
              <a:gd name="connsiteX4" fmla="*/ 500874 w 9323828"/>
              <a:gd name="connsiteY4" fmla="*/ 3249959 h 324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3828" h="3249959">
                <a:moveTo>
                  <a:pt x="0" y="0"/>
                </a:moveTo>
                <a:lnTo>
                  <a:pt x="9226661" y="0"/>
                </a:lnTo>
                <a:lnTo>
                  <a:pt x="9323828" y="630475"/>
                </a:lnTo>
                <a:lnTo>
                  <a:pt x="6123942" y="3249959"/>
                </a:lnTo>
                <a:lnTo>
                  <a:pt x="500874" y="3249959"/>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10418CF9-8860-4EA6-8FA8-1A06B1F83942}"/>
              </a:ext>
            </a:extLst>
          </p:cNvPr>
          <p:cNvSpPr/>
          <p:nvPr userDrawn="1"/>
        </p:nvSpPr>
        <p:spPr>
          <a:xfrm rot="525679">
            <a:off x="-89355" y="4416977"/>
            <a:ext cx="8514049" cy="2195260"/>
          </a:xfrm>
          <a:custGeom>
            <a:avLst/>
            <a:gdLst>
              <a:gd name="connsiteX0" fmla="*/ 0 w 8514049"/>
              <a:gd name="connsiteY0" fmla="*/ 837109 h 2195260"/>
              <a:gd name="connsiteX1" fmla="*/ 6240843 w 8514049"/>
              <a:gd name="connsiteY1" fmla="*/ 352487 h 2195260"/>
              <a:gd name="connsiteX2" fmla="*/ 6421651 w 8514049"/>
              <a:gd name="connsiteY2" fmla="*/ 196645 h 2195260"/>
              <a:gd name="connsiteX3" fmla="*/ 8514049 w 8514049"/>
              <a:gd name="connsiteY3" fmla="*/ 0 h 2195260"/>
              <a:gd name="connsiteX4" fmla="*/ 5832382 w 8514049"/>
              <a:gd name="connsiteY4" fmla="*/ 2195260 h 2195260"/>
              <a:gd name="connsiteX5" fmla="*/ 209314 w 8514049"/>
              <a:gd name="connsiteY5" fmla="*/ 2195260 h 219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4049" h="2195260">
                <a:moveTo>
                  <a:pt x="0" y="837109"/>
                </a:moveTo>
                <a:lnTo>
                  <a:pt x="6240843" y="352487"/>
                </a:lnTo>
                <a:lnTo>
                  <a:pt x="6421651" y="196645"/>
                </a:lnTo>
                <a:lnTo>
                  <a:pt x="8514049" y="0"/>
                </a:lnTo>
                <a:lnTo>
                  <a:pt x="5832382" y="2195260"/>
                </a:lnTo>
                <a:lnTo>
                  <a:pt x="209314" y="2195260"/>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7" name="18 Marcador de texto"/>
          <p:cNvSpPr>
            <a:spLocks noGrp="1"/>
          </p:cNvSpPr>
          <p:nvPr>
            <p:ph type="body" sz="quarter" idx="11" hasCustomPrompt="1"/>
          </p:nvPr>
        </p:nvSpPr>
        <p:spPr>
          <a:xfrm>
            <a:off x="384460" y="4738207"/>
            <a:ext cx="4763604" cy="576709"/>
          </a:xfrm>
          <a:prstGeom prst="rect">
            <a:avLst/>
          </a:prstGeom>
        </p:spPr>
        <p:txBody>
          <a:bodyPr>
            <a:normAutofit/>
          </a:bodyPr>
          <a:lstStyle>
            <a:lvl1pPr marL="0" indent="0" algn="l">
              <a:buNone/>
              <a:defRPr sz="180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Subtítulo de la presentación</a:t>
            </a:r>
          </a:p>
        </p:txBody>
      </p:sp>
      <p:sp>
        <p:nvSpPr>
          <p:cNvPr id="18" name="21 Marcador de texto"/>
          <p:cNvSpPr>
            <a:spLocks noGrp="1"/>
          </p:cNvSpPr>
          <p:nvPr>
            <p:ph type="body" sz="quarter" idx="12" hasCustomPrompt="1"/>
          </p:nvPr>
        </p:nvSpPr>
        <p:spPr>
          <a:xfrm>
            <a:off x="384460" y="5454129"/>
            <a:ext cx="4763468" cy="432742"/>
          </a:xfrm>
          <a:prstGeom prst="rect">
            <a:avLst/>
          </a:prstGeom>
        </p:spPr>
        <p:txBody>
          <a:bodyPr>
            <a:normAutofit/>
          </a:bodyPr>
          <a:lstStyle>
            <a:lvl1pPr marL="0" indent="0" algn="l">
              <a:buNone/>
              <a:defRPr sz="1350">
                <a:solidFill>
                  <a:schemeClr val="bg1"/>
                </a:solidFill>
                <a:latin typeface="Calibri" panose="020F0502020204030204" pitchFamily="34" charset="0"/>
                <a:cs typeface="Calibri" panose="020F05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s-ES"/>
              <a:t>Fecha</a:t>
            </a:r>
          </a:p>
        </p:txBody>
      </p:sp>
      <p:sp>
        <p:nvSpPr>
          <p:cNvPr id="19" name="18 Marcador de texto"/>
          <p:cNvSpPr>
            <a:spLocks noGrp="1"/>
          </p:cNvSpPr>
          <p:nvPr>
            <p:ph type="body" sz="quarter" idx="13" hasCustomPrompt="1"/>
          </p:nvPr>
        </p:nvSpPr>
        <p:spPr>
          <a:xfrm>
            <a:off x="384460" y="3645023"/>
            <a:ext cx="4763604" cy="1008113"/>
          </a:xfrm>
          <a:prstGeom prst="rect">
            <a:avLst/>
          </a:prstGeom>
        </p:spPr>
        <p:txBody>
          <a:bodyPr>
            <a:normAutofit/>
          </a:bodyPr>
          <a:lstStyle>
            <a:lvl1pPr marL="0" indent="0" algn="l">
              <a:spcBef>
                <a:spcPts val="300"/>
              </a:spcBef>
              <a:buNone/>
              <a:defRPr sz="2700" b="1" baseline="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Título de la presentación</a:t>
            </a:r>
          </a:p>
        </p:txBody>
      </p:sp>
      <p:cxnSp>
        <p:nvCxnSpPr>
          <p:cNvPr id="34" name="Conector recto 33">
            <a:extLst>
              <a:ext uri="{FF2B5EF4-FFF2-40B4-BE49-F238E27FC236}">
                <a16:creationId xmlns:a16="http://schemas.microsoft.com/office/drawing/2014/main" id="{85337176-BD36-4C18-8450-3A72C0339CB4}"/>
              </a:ext>
            </a:extLst>
          </p:cNvPr>
          <p:cNvCxnSpPr>
            <a:cxnSpLocks/>
          </p:cNvCxnSpPr>
          <p:nvPr userDrawn="1"/>
        </p:nvCxnSpPr>
        <p:spPr>
          <a:xfrm>
            <a:off x="375658" y="4653136"/>
            <a:ext cx="478523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Forma libre: forma 21">
            <a:extLst>
              <a:ext uri="{FF2B5EF4-FFF2-40B4-BE49-F238E27FC236}">
                <a16:creationId xmlns:a16="http://schemas.microsoft.com/office/drawing/2014/main" id="{F60A80F9-AB66-444B-9F10-03F73C21F701}"/>
              </a:ext>
            </a:extLst>
          </p:cNvPr>
          <p:cNvSpPr/>
          <p:nvPr userDrawn="1"/>
        </p:nvSpPr>
        <p:spPr>
          <a:xfrm rot="14536795">
            <a:off x="5470462" y="2152845"/>
            <a:ext cx="3059500" cy="6451098"/>
          </a:xfrm>
          <a:custGeom>
            <a:avLst/>
            <a:gdLst>
              <a:gd name="connsiteX0" fmla="*/ 3059500 w 3059500"/>
              <a:gd name="connsiteY0" fmla="*/ 6451098 h 6451098"/>
              <a:gd name="connsiteX1" fmla="*/ 0 w 3059500"/>
              <a:gd name="connsiteY1" fmla="*/ 4843457 h 6451098"/>
              <a:gd name="connsiteX2" fmla="*/ 793198 w 3059500"/>
              <a:gd name="connsiteY2" fmla="*/ 1446374 h 6451098"/>
              <a:gd name="connsiteX3" fmla="*/ 1553208 w 3059500"/>
              <a:gd name="connsiteY3" fmla="*/ 0 h 6451098"/>
            </a:gdLst>
            <a:ahLst/>
            <a:cxnLst>
              <a:cxn ang="0">
                <a:pos x="connsiteX0" y="connsiteY0"/>
              </a:cxn>
              <a:cxn ang="0">
                <a:pos x="connsiteX1" y="connsiteY1"/>
              </a:cxn>
              <a:cxn ang="0">
                <a:pos x="connsiteX2" y="connsiteY2"/>
              </a:cxn>
              <a:cxn ang="0">
                <a:pos x="connsiteX3" y="connsiteY3"/>
              </a:cxn>
            </a:cxnLst>
            <a:rect l="l" t="t" r="r" b="b"/>
            <a:pathLst>
              <a:path w="3059500" h="6451098">
                <a:moveTo>
                  <a:pt x="3059500" y="6451098"/>
                </a:moveTo>
                <a:lnTo>
                  <a:pt x="0" y="4843457"/>
                </a:lnTo>
                <a:lnTo>
                  <a:pt x="793198" y="1446374"/>
                </a:lnTo>
                <a:lnTo>
                  <a:pt x="1553208"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0" name="3 Marcador de texto">
            <a:extLst>
              <a:ext uri="{FF2B5EF4-FFF2-40B4-BE49-F238E27FC236}">
                <a16:creationId xmlns:a16="http://schemas.microsoft.com/office/drawing/2014/main" id="{BF58B57A-77C0-4E87-ACBD-6A4A6BAC54B0}"/>
              </a:ext>
            </a:extLst>
          </p:cNvPr>
          <p:cNvSpPr txBox="1">
            <a:spLocks/>
          </p:cNvSpPr>
          <p:nvPr userDrawn="1"/>
        </p:nvSpPr>
        <p:spPr>
          <a:xfrm>
            <a:off x="251520" y="393779"/>
            <a:ext cx="7210121" cy="1728188"/>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4000" kern="1200">
                <a:solidFill>
                  <a:schemeClr val="accent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Ø"/>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Courier New" pitchFamily="49" charset="0"/>
              <a:buChar char="o"/>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defRPr/>
            </a:pPr>
            <a:r>
              <a:rPr lang="es-ES" sz="5400" b="1">
                <a:solidFill>
                  <a:schemeClr val="accent4"/>
                </a:solidFill>
                <a:latin typeface="+mj-lt"/>
                <a:cs typeface="Arial" panose="020B0604020202020204" pitchFamily="34" charset="0"/>
              </a:rPr>
              <a:t>Estrategia</a:t>
            </a:r>
          </a:p>
        </p:txBody>
      </p:sp>
      <p:sp>
        <p:nvSpPr>
          <p:cNvPr id="27" name="Rectángulo 26">
            <a:extLst>
              <a:ext uri="{FF2B5EF4-FFF2-40B4-BE49-F238E27FC236}">
                <a16:creationId xmlns:a16="http://schemas.microsoft.com/office/drawing/2014/main" id="{F3BACC94-C291-46BD-8F47-1C36E08BF6E3}"/>
              </a:ext>
            </a:extLst>
          </p:cNvPr>
          <p:cNvSpPr/>
          <p:nvPr userDrawn="1"/>
        </p:nvSpPr>
        <p:spPr>
          <a:xfrm>
            <a:off x="1" y="6517050"/>
            <a:ext cx="1199456" cy="153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b="1">
              <a:solidFill>
                <a:schemeClr val="bg1"/>
              </a:solidFill>
            </a:endParaRPr>
          </a:p>
        </p:txBody>
      </p:sp>
      <p:sp>
        <p:nvSpPr>
          <p:cNvPr id="28" name="CuadroTexto 27">
            <a:extLst>
              <a:ext uri="{FF2B5EF4-FFF2-40B4-BE49-F238E27FC236}">
                <a16:creationId xmlns:a16="http://schemas.microsoft.com/office/drawing/2014/main" id="{2DBCC1C2-60E4-428F-8AA3-018BBEFC74AF}"/>
              </a:ext>
            </a:extLst>
          </p:cNvPr>
          <p:cNvSpPr txBox="1"/>
          <p:nvPr userDrawn="1"/>
        </p:nvSpPr>
        <p:spPr>
          <a:xfrm>
            <a:off x="0" y="6470785"/>
            <a:ext cx="1199458" cy="246221"/>
          </a:xfrm>
          <a:prstGeom prst="rect">
            <a:avLst/>
          </a:prstGeom>
          <a:noFill/>
        </p:spPr>
        <p:txBody>
          <a:bodyPr wrap="square" rtlCol="0">
            <a:spAutoFit/>
          </a:bodyPr>
          <a:lstStyle/>
          <a:p>
            <a:r>
              <a:rPr lang="es-ES" sz="1000" b="1">
                <a:solidFill>
                  <a:schemeClr val="bg1"/>
                </a:solidFill>
              </a:rPr>
              <a:t>TLP: AMBER</a:t>
            </a:r>
          </a:p>
        </p:txBody>
      </p:sp>
      <p:pic>
        <p:nvPicPr>
          <p:cNvPr id="21" name="Imagen 20">
            <a:extLst>
              <a:ext uri="{FF2B5EF4-FFF2-40B4-BE49-F238E27FC236}">
                <a16:creationId xmlns:a16="http://schemas.microsoft.com/office/drawing/2014/main" id="{DD950549-E953-4496-8ACF-1AA7F871AC10}"/>
              </a:ext>
            </a:extLst>
          </p:cNvPr>
          <p:cNvPicPr/>
          <p:nvPr userDrawn="1"/>
        </p:nvPicPr>
        <p:blipFill>
          <a:blip r:embed="rId5"/>
          <a:stretch>
            <a:fillRect/>
          </a:stretch>
        </p:blipFill>
        <p:spPr>
          <a:xfrm>
            <a:off x="3677317" y="6444125"/>
            <a:ext cx="1789366" cy="323790"/>
          </a:xfrm>
          <a:prstGeom prst="rect">
            <a:avLst/>
          </a:prstGeom>
        </p:spPr>
      </p:pic>
    </p:spTree>
    <p:extLst>
      <p:ext uri="{BB962C8B-B14F-4D97-AF65-F5344CB8AC3E}">
        <p14:creationId xmlns:p14="http://schemas.microsoft.com/office/powerpoint/2010/main" val="39321872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Índice">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372916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Forma libre: forma 40">
            <a:extLst>
              <a:ext uri="{FF2B5EF4-FFF2-40B4-BE49-F238E27FC236}">
                <a16:creationId xmlns:a16="http://schemas.microsoft.com/office/drawing/2014/main" id="{AF6F07A7-7B1F-4991-8CB9-A3234572F24D}"/>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D757F954-3FA8-4895-94D3-2A3BF7120129}"/>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4" name="Forma libre: forma 23">
            <a:extLst>
              <a:ext uri="{FF2B5EF4-FFF2-40B4-BE49-F238E27FC236}">
                <a16:creationId xmlns:a16="http://schemas.microsoft.com/office/drawing/2014/main" id="{58AACA53-106B-4472-9D00-ECA91BC25551}"/>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7" name="Forma libre: forma 36">
            <a:extLst>
              <a:ext uri="{FF2B5EF4-FFF2-40B4-BE49-F238E27FC236}">
                <a16:creationId xmlns:a16="http://schemas.microsoft.com/office/drawing/2014/main" id="{45145C93-3CB9-42B5-AB02-012CAD888E4C}"/>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0" name="Forma libre: forma 19">
            <a:extLst>
              <a:ext uri="{FF2B5EF4-FFF2-40B4-BE49-F238E27FC236}">
                <a16:creationId xmlns:a16="http://schemas.microsoft.com/office/drawing/2014/main" id="{32852021-F90F-422A-B58C-81A3D08D2C09}"/>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pic>
        <p:nvPicPr>
          <p:cNvPr id="10" name="Imagen 9">
            <a:extLst>
              <a:ext uri="{FF2B5EF4-FFF2-40B4-BE49-F238E27FC236}">
                <a16:creationId xmlns:a16="http://schemas.microsoft.com/office/drawing/2014/main" id="{D2B99735-A379-4605-A50D-890C5B08AD0A}"/>
              </a:ext>
            </a:extLst>
          </p:cNvPr>
          <p:cNvPicPr/>
          <p:nvPr userDrawn="1"/>
        </p:nvPicPr>
        <p:blipFill>
          <a:blip r:embed="rId5"/>
          <a:stretch>
            <a:fillRect/>
          </a:stretch>
        </p:blipFill>
        <p:spPr>
          <a:xfrm>
            <a:off x="3677317" y="6444125"/>
            <a:ext cx="1789366" cy="323790"/>
          </a:xfrm>
          <a:prstGeom prst="rect">
            <a:avLst/>
          </a:prstGeom>
        </p:spPr>
      </p:pic>
    </p:spTree>
    <p:extLst>
      <p:ext uri="{BB962C8B-B14F-4D97-AF65-F5344CB8AC3E}">
        <p14:creationId xmlns:p14="http://schemas.microsoft.com/office/powerpoint/2010/main" val="4341770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Índice Metodología">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174516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Forma libre: forma 40">
            <a:extLst>
              <a:ext uri="{FF2B5EF4-FFF2-40B4-BE49-F238E27FC236}">
                <a16:creationId xmlns:a16="http://schemas.microsoft.com/office/drawing/2014/main" id="{AF6F07A7-7B1F-4991-8CB9-A3234572F24D}"/>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D757F954-3FA8-4895-94D3-2A3BF7120129}"/>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4" name="Forma libre: forma 23">
            <a:extLst>
              <a:ext uri="{FF2B5EF4-FFF2-40B4-BE49-F238E27FC236}">
                <a16:creationId xmlns:a16="http://schemas.microsoft.com/office/drawing/2014/main" id="{58AACA53-106B-4472-9D00-ECA91BC25551}"/>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7" name="Forma libre: forma 36">
            <a:extLst>
              <a:ext uri="{FF2B5EF4-FFF2-40B4-BE49-F238E27FC236}">
                <a16:creationId xmlns:a16="http://schemas.microsoft.com/office/drawing/2014/main" id="{45145C93-3CB9-42B5-AB02-012CAD888E4C}"/>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0" name="Forma libre: forma 19">
            <a:extLst>
              <a:ext uri="{FF2B5EF4-FFF2-40B4-BE49-F238E27FC236}">
                <a16:creationId xmlns:a16="http://schemas.microsoft.com/office/drawing/2014/main" id="{32852021-F90F-422A-B58C-81A3D08D2C09}"/>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pic>
        <p:nvPicPr>
          <p:cNvPr id="9" name="Imagen 8">
            <a:extLst>
              <a:ext uri="{FF2B5EF4-FFF2-40B4-BE49-F238E27FC236}">
                <a16:creationId xmlns:a16="http://schemas.microsoft.com/office/drawing/2014/main" id="{AAAE9C80-C125-46DD-893A-5F908256E657}"/>
              </a:ext>
            </a:extLst>
          </p:cNvPr>
          <p:cNvPicPr/>
          <p:nvPr userDrawn="1"/>
        </p:nvPicPr>
        <p:blipFill>
          <a:blip r:embed="rId5"/>
          <a:stretch>
            <a:fillRect/>
          </a:stretch>
        </p:blipFill>
        <p:spPr>
          <a:xfrm>
            <a:off x="3677317" y="6444125"/>
            <a:ext cx="1789366" cy="323790"/>
          </a:xfrm>
          <a:prstGeom prst="rect">
            <a:avLst/>
          </a:prstGeom>
        </p:spPr>
      </p:pic>
    </p:spTree>
    <p:extLst>
      <p:ext uri="{BB962C8B-B14F-4D97-AF65-F5344CB8AC3E}">
        <p14:creationId xmlns:p14="http://schemas.microsoft.com/office/powerpoint/2010/main" val="8303338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Índice Estrategia">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3692905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Forma libre: forma 40">
            <a:extLst>
              <a:ext uri="{FF2B5EF4-FFF2-40B4-BE49-F238E27FC236}">
                <a16:creationId xmlns:a16="http://schemas.microsoft.com/office/drawing/2014/main" id="{AF6F07A7-7B1F-4991-8CB9-A3234572F24D}"/>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D757F954-3FA8-4895-94D3-2A3BF7120129}"/>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4" name="Forma libre: forma 23">
            <a:extLst>
              <a:ext uri="{FF2B5EF4-FFF2-40B4-BE49-F238E27FC236}">
                <a16:creationId xmlns:a16="http://schemas.microsoft.com/office/drawing/2014/main" id="{58AACA53-106B-4472-9D00-ECA91BC25551}"/>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7" name="Forma libre: forma 36">
            <a:extLst>
              <a:ext uri="{FF2B5EF4-FFF2-40B4-BE49-F238E27FC236}">
                <a16:creationId xmlns:a16="http://schemas.microsoft.com/office/drawing/2014/main" id="{45145C93-3CB9-42B5-AB02-012CAD888E4C}"/>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0" name="Forma libre: forma 19">
            <a:extLst>
              <a:ext uri="{FF2B5EF4-FFF2-40B4-BE49-F238E27FC236}">
                <a16:creationId xmlns:a16="http://schemas.microsoft.com/office/drawing/2014/main" id="{32852021-F90F-422A-B58C-81A3D08D2C09}"/>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pic>
        <p:nvPicPr>
          <p:cNvPr id="9" name="Imagen 8">
            <a:extLst>
              <a:ext uri="{FF2B5EF4-FFF2-40B4-BE49-F238E27FC236}">
                <a16:creationId xmlns:a16="http://schemas.microsoft.com/office/drawing/2014/main" id="{32CD439A-2BD8-4CB1-B730-5341780F9726}"/>
              </a:ext>
            </a:extLst>
          </p:cNvPr>
          <p:cNvPicPr/>
          <p:nvPr userDrawn="1"/>
        </p:nvPicPr>
        <p:blipFill>
          <a:blip r:embed="rId5"/>
          <a:stretch>
            <a:fillRect/>
          </a:stretch>
        </p:blipFill>
        <p:spPr>
          <a:xfrm>
            <a:off x="3677317" y="6444125"/>
            <a:ext cx="1789366" cy="323790"/>
          </a:xfrm>
          <a:prstGeom prst="rect">
            <a:avLst/>
          </a:prstGeom>
        </p:spPr>
      </p:pic>
    </p:spTree>
    <p:extLst>
      <p:ext uri="{BB962C8B-B14F-4D97-AF65-F5344CB8AC3E}">
        <p14:creationId xmlns:p14="http://schemas.microsoft.com/office/powerpoint/2010/main" val="18039515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ción">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3405550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3F74CFE-774D-43F8-BCA3-F1244456F2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2000" b="1" i="0" baseline="0">
              <a:latin typeface="Calibri" panose="020F0502020204030204" pitchFamily="34" charset="0"/>
              <a:ea typeface="+mj-ea"/>
              <a:cs typeface="+mj-cs"/>
              <a:sym typeface="Calibri" panose="020F0502020204030204" pitchFamily="34" charset="0"/>
            </a:endParaRPr>
          </a:p>
        </p:txBody>
      </p:sp>
      <p:sp>
        <p:nvSpPr>
          <p:cNvPr id="9"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11"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p:txBody>
      </p:sp>
      <p:sp>
        <p:nvSpPr>
          <p:cNvPr id="37"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8"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9"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1" name="5 Marcador de número de diapositiva">
            <a:extLst>
              <a:ext uri="{FF2B5EF4-FFF2-40B4-BE49-F238E27FC236}">
                <a16:creationId xmlns:a16="http://schemas.microsoft.com/office/drawing/2014/main" id="{DF893BE7-590E-4A33-B8B8-FD3D8B2361D8}"/>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a:p>
        </p:txBody>
      </p:sp>
      <p:pic>
        <p:nvPicPr>
          <p:cNvPr id="4" name="Imagen 3">
            <a:extLst>
              <a:ext uri="{FF2B5EF4-FFF2-40B4-BE49-F238E27FC236}">
                <a16:creationId xmlns:a16="http://schemas.microsoft.com/office/drawing/2014/main" id="{BCD1D326-5B42-4A8E-B808-444EFE2ACBAF}"/>
              </a:ext>
            </a:extLst>
          </p:cNvPr>
          <p:cNvPicPr>
            <a:picLocks noChangeAspect="1"/>
          </p:cNvPicPr>
          <p:nvPr userDrawn="1"/>
        </p:nvPicPr>
        <p:blipFill rotWithShape="1">
          <a:blip r:embed="rId6"/>
          <a:srcRect t="13571" r="20820"/>
          <a:stretch/>
        </p:blipFill>
        <p:spPr>
          <a:xfrm>
            <a:off x="7903394" y="0"/>
            <a:ext cx="1240606" cy="1243525"/>
          </a:xfrm>
          <a:prstGeom prst="rect">
            <a:avLst/>
          </a:prstGeom>
        </p:spPr>
      </p:pic>
      <p:pic>
        <p:nvPicPr>
          <p:cNvPr id="16" name="Imagen 15">
            <a:extLst>
              <a:ext uri="{FF2B5EF4-FFF2-40B4-BE49-F238E27FC236}">
                <a16:creationId xmlns:a16="http://schemas.microsoft.com/office/drawing/2014/main" id="{52AE1C59-FFD2-4D17-8344-D4AD704B5CEE}"/>
              </a:ext>
            </a:extLst>
          </p:cNvPr>
          <p:cNvPicPr/>
          <p:nvPr userDrawn="1"/>
        </p:nvPicPr>
        <p:blipFill>
          <a:blip r:embed="rId7"/>
          <a:stretch>
            <a:fillRect/>
          </a:stretch>
        </p:blipFill>
        <p:spPr>
          <a:xfrm>
            <a:off x="3677317" y="6444125"/>
            <a:ext cx="1789366" cy="323790"/>
          </a:xfrm>
          <a:prstGeom prst="rect">
            <a:avLst/>
          </a:prstGeom>
        </p:spPr>
      </p:pic>
    </p:spTree>
    <p:extLst>
      <p:ext uri="{BB962C8B-B14F-4D97-AF65-F5344CB8AC3E}">
        <p14:creationId xmlns:p14="http://schemas.microsoft.com/office/powerpoint/2010/main" val="25962284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ción Metodología">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1326497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3F74CFE-774D-43F8-BCA3-F1244456F2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2000" b="1" i="0" baseline="0">
              <a:latin typeface="Calibri" panose="020F0502020204030204" pitchFamily="34" charset="0"/>
              <a:ea typeface="+mj-ea"/>
              <a:cs typeface="+mj-cs"/>
              <a:sym typeface="Calibri" panose="020F0502020204030204" pitchFamily="34" charset="0"/>
            </a:endParaRPr>
          </a:p>
        </p:txBody>
      </p:sp>
      <p:sp>
        <p:nvSpPr>
          <p:cNvPr id="9"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11"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p:txBody>
      </p:sp>
      <p:sp>
        <p:nvSpPr>
          <p:cNvPr id="37"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8"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9"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2D43060D-A98B-464D-A050-76EB4A80CBC5}"/>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Título 1">
            <a:extLst>
              <a:ext uri="{FF2B5EF4-FFF2-40B4-BE49-F238E27FC236}">
                <a16:creationId xmlns:a16="http://schemas.microsoft.com/office/drawing/2014/main" id="{8E6A21A6-EB96-426D-9233-3E6A43A133E1}"/>
              </a:ext>
            </a:extLst>
          </p:cNvPr>
          <p:cNvSpPr>
            <a:spLocks noGrp="1"/>
          </p:cNvSpPr>
          <p:nvPr>
            <p:ph type="title" hasCustomPrompt="1"/>
          </p:nvPr>
        </p:nvSpPr>
        <p:spPr>
          <a:xfrm>
            <a:off x="59634" y="-274036"/>
            <a:ext cx="8865122" cy="1143000"/>
          </a:xfrm>
        </p:spPr>
        <p:txBody>
          <a:bodyPr>
            <a:normAutofit/>
          </a:bodyPr>
          <a:lstStyle>
            <a:lvl1pPr algn="l">
              <a:defRPr sz="2000" b="1">
                <a:solidFill>
                  <a:schemeClr val="bg1"/>
                </a:solidFill>
              </a:defRPr>
            </a:lvl1pPr>
          </a:lstStyle>
          <a:p>
            <a:r>
              <a:rPr lang="es-ES"/>
              <a:t>HAGA CLIC PARA MODIFICAR EL ESTILO DE TÍTULO DEL PATRÓN</a:t>
            </a:r>
          </a:p>
        </p:txBody>
      </p:sp>
      <p:sp>
        <p:nvSpPr>
          <p:cNvPr id="20" name="5 Marcador de número de diapositiva">
            <a:extLst>
              <a:ext uri="{FF2B5EF4-FFF2-40B4-BE49-F238E27FC236}">
                <a16:creationId xmlns:a16="http://schemas.microsoft.com/office/drawing/2014/main" id="{E44973C9-CBB5-408A-BB10-BD4BF6CD9BA6}"/>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a:p>
        </p:txBody>
      </p:sp>
      <p:pic>
        <p:nvPicPr>
          <p:cNvPr id="16" name="Imagen 15">
            <a:extLst>
              <a:ext uri="{FF2B5EF4-FFF2-40B4-BE49-F238E27FC236}">
                <a16:creationId xmlns:a16="http://schemas.microsoft.com/office/drawing/2014/main" id="{B1D4970A-A19A-4896-A664-D6E2F0FC633E}"/>
              </a:ext>
            </a:extLst>
          </p:cNvPr>
          <p:cNvPicPr/>
          <p:nvPr userDrawn="1"/>
        </p:nvPicPr>
        <p:blipFill>
          <a:blip r:embed="rId6"/>
          <a:stretch>
            <a:fillRect/>
          </a:stretch>
        </p:blipFill>
        <p:spPr>
          <a:xfrm>
            <a:off x="3677317" y="6444125"/>
            <a:ext cx="1789366" cy="323790"/>
          </a:xfrm>
          <a:prstGeom prst="rect">
            <a:avLst/>
          </a:prstGeom>
        </p:spPr>
      </p:pic>
    </p:spTree>
    <p:extLst>
      <p:ext uri="{BB962C8B-B14F-4D97-AF65-F5344CB8AC3E}">
        <p14:creationId xmlns:p14="http://schemas.microsoft.com/office/powerpoint/2010/main" val="32013820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ción Estrategia">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2548781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3F74CFE-774D-43F8-BCA3-F1244456F2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2000" b="1" i="0" baseline="0">
              <a:latin typeface="Calibri" panose="020F0502020204030204" pitchFamily="34" charset="0"/>
              <a:ea typeface="+mj-ea"/>
              <a:cs typeface="+mj-cs"/>
              <a:sym typeface="Calibri" panose="020F0502020204030204" pitchFamily="34" charset="0"/>
            </a:endParaRPr>
          </a:p>
        </p:txBody>
      </p:sp>
      <p:sp>
        <p:nvSpPr>
          <p:cNvPr id="9"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11"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p:txBody>
      </p:sp>
      <p:sp>
        <p:nvSpPr>
          <p:cNvPr id="37"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8"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9"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2D43060D-A98B-464D-A050-76EB4A80CBC5}"/>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Título 1">
            <a:extLst>
              <a:ext uri="{FF2B5EF4-FFF2-40B4-BE49-F238E27FC236}">
                <a16:creationId xmlns:a16="http://schemas.microsoft.com/office/drawing/2014/main" id="{8E6A21A6-EB96-426D-9233-3E6A43A133E1}"/>
              </a:ext>
            </a:extLst>
          </p:cNvPr>
          <p:cNvSpPr>
            <a:spLocks noGrp="1"/>
          </p:cNvSpPr>
          <p:nvPr>
            <p:ph type="title" hasCustomPrompt="1"/>
          </p:nvPr>
        </p:nvSpPr>
        <p:spPr>
          <a:xfrm>
            <a:off x="59634" y="-274036"/>
            <a:ext cx="8865122" cy="1143000"/>
          </a:xfrm>
        </p:spPr>
        <p:txBody>
          <a:bodyPr>
            <a:normAutofit/>
          </a:bodyPr>
          <a:lstStyle>
            <a:lvl1pPr algn="l">
              <a:defRPr sz="2000" b="1">
                <a:solidFill>
                  <a:schemeClr val="bg1"/>
                </a:solidFill>
              </a:defRPr>
            </a:lvl1pPr>
          </a:lstStyle>
          <a:p>
            <a:r>
              <a:rPr lang="es-ES"/>
              <a:t>HAGA CLIC PARA MODIFICAR EL ESTILO DE TÍTULO DEL PATRÓN</a:t>
            </a:r>
          </a:p>
        </p:txBody>
      </p:sp>
      <p:sp>
        <p:nvSpPr>
          <p:cNvPr id="20" name="5 Marcador de número de diapositiva">
            <a:extLst>
              <a:ext uri="{FF2B5EF4-FFF2-40B4-BE49-F238E27FC236}">
                <a16:creationId xmlns:a16="http://schemas.microsoft.com/office/drawing/2014/main" id="{ACDDCC9B-ADD3-418D-B1D5-372168D1E008}"/>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a:p>
        </p:txBody>
      </p:sp>
      <p:sp>
        <p:nvSpPr>
          <p:cNvPr id="22" name="Rectángulo 21">
            <a:extLst>
              <a:ext uri="{FF2B5EF4-FFF2-40B4-BE49-F238E27FC236}">
                <a16:creationId xmlns:a16="http://schemas.microsoft.com/office/drawing/2014/main" id="{07FBD02B-85F0-4864-AF40-693EC3D233EF}"/>
              </a:ext>
            </a:extLst>
          </p:cNvPr>
          <p:cNvSpPr/>
          <p:nvPr userDrawn="1"/>
        </p:nvSpPr>
        <p:spPr>
          <a:xfrm>
            <a:off x="1" y="6517050"/>
            <a:ext cx="1199456" cy="153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b="1">
              <a:solidFill>
                <a:schemeClr val="bg1"/>
              </a:solidFill>
            </a:endParaRPr>
          </a:p>
        </p:txBody>
      </p:sp>
      <p:sp>
        <p:nvSpPr>
          <p:cNvPr id="23" name="CuadroTexto 22">
            <a:extLst>
              <a:ext uri="{FF2B5EF4-FFF2-40B4-BE49-F238E27FC236}">
                <a16:creationId xmlns:a16="http://schemas.microsoft.com/office/drawing/2014/main" id="{2E1FFA29-1301-4059-801B-D8109FAA0CBC}"/>
              </a:ext>
            </a:extLst>
          </p:cNvPr>
          <p:cNvSpPr txBox="1"/>
          <p:nvPr userDrawn="1"/>
        </p:nvSpPr>
        <p:spPr>
          <a:xfrm>
            <a:off x="0" y="6470785"/>
            <a:ext cx="1199458" cy="246221"/>
          </a:xfrm>
          <a:prstGeom prst="rect">
            <a:avLst/>
          </a:prstGeom>
          <a:noFill/>
        </p:spPr>
        <p:txBody>
          <a:bodyPr wrap="square" rtlCol="0">
            <a:spAutoFit/>
          </a:bodyPr>
          <a:lstStyle/>
          <a:p>
            <a:r>
              <a:rPr lang="es-ES" sz="1000" b="1">
                <a:solidFill>
                  <a:schemeClr val="bg1"/>
                </a:solidFill>
              </a:rPr>
              <a:t>TLP: AMBER</a:t>
            </a:r>
          </a:p>
        </p:txBody>
      </p:sp>
      <p:pic>
        <p:nvPicPr>
          <p:cNvPr id="17" name="Imagen 16">
            <a:extLst>
              <a:ext uri="{FF2B5EF4-FFF2-40B4-BE49-F238E27FC236}">
                <a16:creationId xmlns:a16="http://schemas.microsoft.com/office/drawing/2014/main" id="{826A07BF-6600-4B62-BD19-EFC4A8924A30}"/>
              </a:ext>
            </a:extLst>
          </p:cNvPr>
          <p:cNvPicPr/>
          <p:nvPr userDrawn="1"/>
        </p:nvPicPr>
        <p:blipFill>
          <a:blip r:embed="rId6"/>
          <a:stretch>
            <a:fillRect/>
          </a:stretch>
        </p:blipFill>
        <p:spPr>
          <a:xfrm>
            <a:off x="3677317" y="6444125"/>
            <a:ext cx="1789366" cy="323790"/>
          </a:xfrm>
          <a:prstGeom prst="rect">
            <a:avLst/>
          </a:prstGeom>
        </p:spPr>
      </p:pic>
    </p:spTree>
    <p:extLst>
      <p:ext uri="{BB962C8B-B14F-4D97-AF65-F5344CB8AC3E}">
        <p14:creationId xmlns:p14="http://schemas.microsoft.com/office/powerpoint/2010/main" val="7952874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cias Metodología">
    <p:spTree>
      <p:nvGrpSpPr>
        <p:cNvPr id="1" name=""/>
        <p:cNvGrpSpPr/>
        <p:nvPr/>
      </p:nvGrpSpPr>
      <p:grpSpPr>
        <a:xfrm>
          <a:off x="0" y="0"/>
          <a:ext cx="0" cy="0"/>
          <a:chOff x="0" y="0"/>
          <a:chExt cx="0" cy="0"/>
        </a:xfrm>
      </p:grpSpPr>
      <p:graphicFrame>
        <p:nvGraphicFramePr>
          <p:cNvPr id="24" name="Objeto 23" hidden="1">
            <a:extLst>
              <a:ext uri="{FF2B5EF4-FFF2-40B4-BE49-F238E27FC236}">
                <a16:creationId xmlns:a16="http://schemas.microsoft.com/office/drawing/2014/main" id="{81D7397D-C91D-41A4-A686-41955D1D97A2}"/>
              </a:ext>
            </a:extLst>
          </p:cNvPr>
          <p:cNvGraphicFramePr>
            <a:graphicFrameLocks noChangeAspect="1"/>
          </p:cNvGraphicFramePr>
          <p:nvPr userDrawn="1">
            <p:custDataLst>
              <p:tags r:id="rId1"/>
            </p:custDataLst>
            <p:extLst>
              <p:ext uri="{D42A27DB-BD31-4B8C-83A1-F6EECF244321}">
                <p14:modId xmlns:p14="http://schemas.microsoft.com/office/powerpoint/2010/main" val="3107721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24" name="Objeto 23" hidden="1">
                        <a:extLst>
                          <a:ext uri="{FF2B5EF4-FFF2-40B4-BE49-F238E27FC236}">
                            <a16:creationId xmlns:a16="http://schemas.microsoft.com/office/drawing/2014/main" id="{81D7397D-C91D-41A4-A686-41955D1D97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Forma libre: forma 20">
            <a:extLst>
              <a:ext uri="{FF2B5EF4-FFF2-40B4-BE49-F238E27FC236}">
                <a16:creationId xmlns:a16="http://schemas.microsoft.com/office/drawing/2014/main" id="{6AEC379F-2A03-4B46-B460-2EBA10916109}"/>
              </a:ext>
            </a:extLst>
          </p:cNvPr>
          <p:cNvSpPr/>
          <p:nvPr userDrawn="1"/>
        </p:nvSpPr>
        <p:spPr>
          <a:xfrm rot="2653743">
            <a:off x="5292922" y="1458956"/>
            <a:ext cx="4593994" cy="263354"/>
          </a:xfrm>
          <a:custGeom>
            <a:avLst/>
            <a:gdLst>
              <a:gd name="connsiteX0" fmla="*/ 1281653 w 4593994"/>
              <a:gd name="connsiteY0" fmla="*/ 0 h 263354"/>
              <a:gd name="connsiteX1" fmla="*/ 4337634 w 4593994"/>
              <a:gd name="connsiteY1" fmla="*/ 0 h 263354"/>
              <a:gd name="connsiteX2" fmla="*/ 4426355 w 4593994"/>
              <a:gd name="connsiteY2" fmla="*/ 91142 h 263354"/>
              <a:gd name="connsiteX3" fmla="*/ 0 w 4593994"/>
              <a:gd name="connsiteY3" fmla="*/ 0 h 263354"/>
              <a:gd name="connsiteX4" fmla="*/ 16 w 4593994"/>
              <a:gd name="connsiteY4" fmla="*/ 0 h 263354"/>
              <a:gd name="connsiteX5" fmla="*/ 4593994 w 4593994"/>
              <a:gd name="connsiteY5" fmla="*/ 263353 h 263354"/>
              <a:gd name="connsiteX6" fmla="*/ 4593994 w 4593994"/>
              <a:gd name="connsiteY6" fmla="*/ 263354 h 26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3994" h="263354">
                <a:moveTo>
                  <a:pt x="1281653" y="0"/>
                </a:moveTo>
                <a:lnTo>
                  <a:pt x="4337634" y="0"/>
                </a:lnTo>
                <a:lnTo>
                  <a:pt x="4426355" y="91142"/>
                </a:lnTo>
                <a:close/>
                <a:moveTo>
                  <a:pt x="0" y="0"/>
                </a:moveTo>
                <a:lnTo>
                  <a:pt x="16" y="0"/>
                </a:lnTo>
                <a:lnTo>
                  <a:pt x="4593994" y="263353"/>
                </a:lnTo>
                <a:lnTo>
                  <a:pt x="4593994" y="263354"/>
                </a:lnTo>
                <a:close/>
              </a:path>
            </a:pathLst>
          </a:custGeom>
          <a:solidFill>
            <a:schemeClr val="accent3">
              <a:lumMod val="20000"/>
              <a:lumOff val="80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2" name="Forma libre: forma 21">
            <a:extLst>
              <a:ext uri="{FF2B5EF4-FFF2-40B4-BE49-F238E27FC236}">
                <a16:creationId xmlns:a16="http://schemas.microsoft.com/office/drawing/2014/main" id="{7E093055-D630-4B43-965E-65CFFA5C718B}"/>
              </a:ext>
            </a:extLst>
          </p:cNvPr>
          <p:cNvSpPr/>
          <p:nvPr userDrawn="1"/>
        </p:nvSpPr>
        <p:spPr>
          <a:xfrm rot="2753350">
            <a:off x="5425189" y="1545628"/>
            <a:ext cx="4456081" cy="167283"/>
          </a:xfrm>
          <a:custGeom>
            <a:avLst/>
            <a:gdLst>
              <a:gd name="connsiteX0" fmla="*/ 39933 w 4456081"/>
              <a:gd name="connsiteY0" fmla="*/ 0 h 167283"/>
              <a:gd name="connsiteX1" fmla="*/ 4283524 w 4456081"/>
              <a:gd name="connsiteY1" fmla="*/ 1 h 167283"/>
              <a:gd name="connsiteX2" fmla="*/ 4456081 w 4456081"/>
              <a:gd name="connsiteY2" fmla="*/ 167283 h 167283"/>
              <a:gd name="connsiteX3" fmla="*/ 0 w 4456081"/>
              <a:gd name="connsiteY3" fmla="*/ 41193 h 167283"/>
            </a:gdLst>
            <a:ahLst/>
            <a:cxnLst>
              <a:cxn ang="0">
                <a:pos x="connsiteX0" y="connsiteY0"/>
              </a:cxn>
              <a:cxn ang="0">
                <a:pos x="connsiteX1" y="connsiteY1"/>
              </a:cxn>
              <a:cxn ang="0">
                <a:pos x="connsiteX2" y="connsiteY2"/>
              </a:cxn>
              <a:cxn ang="0">
                <a:pos x="connsiteX3" y="connsiteY3"/>
              </a:cxn>
            </a:cxnLst>
            <a:rect l="l" t="t" r="r" b="b"/>
            <a:pathLst>
              <a:path w="4456081" h="167283">
                <a:moveTo>
                  <a:pt x="39933" y="0"/>
                </a:moveTo>
                <a:lnTo>
                  <a:pt x="4283524" y="1"/>
                </a:lnTo>
                <a:lnTo>
                  <a:pt x="4456081" y="167283"/>
                </a:lnTo>
                <a:lnTo>
                  <a:pt x="0" y="41193"/>
                </a:lnTo>
                <a:close/>
              </a:path>
            </a:pathLst>
          </a:custGeom>
          <a:solidFill>
            <a:schemeClr val="accent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3" name="Forma libre: forma 22">
            <a:extLst>
              <a:ext uri="{FF2B5EF4-FFF2-40B4-BE49-F238E27FC236}">
                <a16:creationId xmlns:a16="http://schemas.microsoft.com/office/drawing/2014/main" id="{853CFD88-6C94-4DA8-BB32-4139316BEA0B}"/>
              </a:ext>
            </a:extLst>
          </p:cNvPr>
          <p:cNvSpPr/>
          <p:nvPr userDrawn="1"/>
        </p:nvSpPr>
        <p:spPr>
          <a:xfrm rot="2850599">
            <a:off x="-1172268" y="-94272"/>
            <a:ext cx="11248272" cy="7246564"/>
          </a:xfrm>
          <a:custGeom>
            <a:avLst/>
            <a:gdLst>
              <a:gd name="connsiteX0" fmla="*/ 0 w 11248272"/>
              <a:gd name="connsiteY0" fmla="*/ 4538508 h 7246564"/>
              <a:gd name="connsiteX1" fmla="*/ 4157322 w 11248272"/>
              <a:gd name="connsiteY1" fmla="*/ 0 h 7246564"/>
              <a:gd name="connsiteX2" fmla="*/ 8615189 w 11248272"/>
              <a:gd name="connsiteY2" fmla="*/ 0 h 7246564"/>
              <a:gd name="connsiteX3" fmla="*/ 11248272 w 11248272"/>
              <a:gd name="connsiteY3" fmla="*/ 2411933 h 7246564"/>
              <a:gd name="connsiteX4" fmla="*/ 6819699 w 11248272"/>
              <a:gd name="connsiteY4" fmla="*/ 7246564 h 7246564"/>
              <a:gd name="connsiteX5" fmla="*/ 2956357 w 11248272"/>
              <a:gd name="connsiteY5" fmla="*/ 7246564 h 724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8272" h="7246564">
                <a:moveTo>
                  <a:pt x="0" y="4538508"/>
                </a:moveTo>
                <a:lnTo>
                  <a:pt x="4157322" y="0"/>
                </a:lnTo>
                <a:lnTo>
                  <a:pt x="8615189" y="0"/>
                </a:lnTo>
                <a:lnTo>
                  <a:pt x="11248272" y="2411933"/>
                </a:lnTo>
                <a:lnTo>
                  <a:pt x="6819699" y="7246564"/>
                </a:lnTo>
                <a:lnTo>
                  <a:pt x="2956357" y="7246564"/>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5" name="Forma libre: forma 24">
            <a:extLst>
              <a:ext uri="{FF2B5EF4-FFF2-40B4-BE49-F238E27FC236}">
                <a16:creationId xmlns:a16="http://schemas.microsoft.com/office/drawing/2014/main" id="{2D3BD9F0-C363-4209-83DE-FBC3B3FCF895}"/>
              </a:ext>
            </a:extLst>
          </p:cNvPr>
          <p:cNvSpPr/>
          <p:nvPr userDrawn="1"/>
        </p:nvSpPr>
        <p:spPr>
          <a:xfrm rot="2850599">
            <a:off x="-2432127" y="2796095"/>
            <a:ext cx="9663014" cy="3076225"/>
          </a:xfrm>
          <a:custGeom>
            <a:avLst/>
            <a:gdLst>
              <a:gd name="connsiteX0" fmla="*/ 0 w 9663014"/>
              <a:gd name="connsiteY0" fmla="*/ 395965 h 3076225"/>
              <a:gd name="connsiteX1" fmla="*/ 34391 w 9663014"/>
              <a:gd name="connsiteY1" fmla="*/ 358421 h 3076225"/>
              <a:gd name="connsiteX2" fmla="*/ 9663014 w 9663014"/>
              <a:gd name="connsiteY2" fmla="*/ 0 h 3076225"/>
              <a:gd name="connsiteX3" fmla="*/ 6845160 w 9663014"/>
              <a:gd name="connsiteY3" fmla="*/ 3076224 h 3076225"/>
              <a:gd name="connsiteX4" fmla="*/ 2926014 w 9663014"/>
              <a:gd name="connsiteY4" fmla="*/ 3076225 h 30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3014" h="3076225">
                <a:moveTo>
                  <a:pt x="0" y="395965"/>
                </a:moveTo>
                <a:lnTo>
                  <a:pt x="34391" y="358421"/>
                </a:lnTo>
                <a:lnTo>
                  <a:pt x="9663014" y="0"/>
                </a:lnTo>
                <a:lnTo>
                  <a:pt x="6845160" y="3076224"/>
                </a:lnTo>
                <a:lnTo>
                  <a:pt x="2926014" y="3076225"/>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6" name="Slide Number Placeholder 17">
            <a:extLst>
              <a:ext uri="{FF2B5EF4-FFF2-40B4-BE49-F238E27FC236}">
                <a16:creationId xmlns:a16="http://schemas.microsoft.com/office/drawing/2014/main" id="{BC0D246B-7636-4A12-894E-E05EAF76B10B}"/>
              </a:ext>
            </a:extLst>
          </p:cNvPr>
          <p:cNvSpPr>
            <a:spLocks noGrp="1"/>
          </p:cNvSpPr>
          <p:nvPr>
            <p:ph type="sldNum" sz="quarter" idx="4"/>
          </p:nvPr>
        </p:nvSpPr>
        <p:spPr>
          <a:xfrm>
            <a:off x="8564716" y="6309320"/>
            <a:ext cx="360040" cy="365125"/>
          </a:xfrm>
          <a:prstGeom prst="rect">
            <a:avLst/>
          </a:prstGeom>
        </p:spPr>
        <p:txBody>
          <a:bodyPr vert="horz" lIns="0" tIns="0" rIns="0" bIns="0" anchor="b"/>
          <a:lstStyle>
            <a:lvl1pPr algn="r" eaLnBrk="1" latinLnBrk="0" hangingPunct="1">
              <a:defRPr kumimoji="0" sz="1050">
                <a:solidFill>
                  <a:schemeClr val="tx1"/>
                </a:solidFill>
                <a:latin typeface="Arial" panose="020B0604020202020204" pitchFamily="34" charset="0"/>
                <a:cs typeface="Arial" panose="020B0604020202020204" pitchFamily="34" charset="0"/>
              </a:defRPr>
            </a:lvl1pPr>
          </a:lstStyle>
          <a:p>
            <a:fld id="{BCECDAE5-3B81-401B-AAD2-D1C88E068655}" type="slidenum">
              <a:rPr lang="es-ES" smtClean="0"/>
              <a:pPr/>
              <a:t>‹Nº›</a:t>
            </a:fld>
            <a:endParaRPr lang="es-ES"/>
          </a:p>
        </p:txBody>
      </p:sp>
    </p:spTree>
    <p:extLst>
      <p:ext uri="{BB962C8B-B14F-4D97-AF65-F5344CB8AC3E}">
        <p14:creationId xmlns:p14="http://schemas.microsoft.com/office/powerpoint/2010/main" val="32402856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acias Estrategia">
    <p:spTree>
      <p:nvGrpSpPr>
        <p:cNvPr id="1" name=""/>
        <p:cNvGrpSpPr/>
        <p:nvPr/>
      </p:nvGrpSpPr>
      <p:grpSpPr>
        <a:xfrm>
          <a:off x="0" y="0"/>
          <a:ext cx="0" cy="0"/>
          <a:chOff x="0" y="0"/>
          <a:chExt cx="0" cy="0"/>
        </a:xfrm>
      </p:grpSpPr>
      <p:graphicFrame>
        <p:nvGraphicFramePr>
          <p:cNvPr id="24" name="Objeto 23" hidden="1">
            <a:extLst>
              <a:ext uri="{FF2B5EF4-FFF2-40B4-BE49-F238E27FC236}">
                <a16:creationId xmlns:a16="http://schemas.microsoft.com/office/drawing/2014/main" id="{81D7397D-C91D-41A4-A686-41955D1D97A2}"/>
              </a:ext>
            </a:extLst>
          </p:cNvPr>
          <p:cNvGraphicFramePr>
            <a:graphicFrameLocks noChangeAspect="1"/>
          </p:cNvGraphicFramePr>
          <p:nvPr userDrawn="1">
            <p:custDataLst>
              <p:tags r:id="rId1"/>
            </p:custDataLst>
            <p:extLst>
              <p:ext uri="{D42A27DB-BD31-4B8C-83A1-F6EECF244321}">
                <p14:modId xmlns:p14="http://schemas.microsoft.com/office/powerpoint/2010/main" val="2593560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24" name="Objeto 23" hidden="1">
                        <a:extLst>
                          <a:ext uri="{FF2B5EF4-FFF2-40B4-BE49-F238E27FC236}">
                            <a16:creationId xmlns:a16="http://schemas.microsoft.com/office/drawing/2014/main" id="{81D7397D-C91D-41A4-A686-41955D1D97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Forma libre: forma 20">
            <a:extLst>
              <a:ext uri="{FF2B5EF4-FFF2-40B4-BE49-F238E27FC236}">
                <a16:creationId xmlns:a16="http://schemas.microsoft.com/office/drawing/2014/main" id="{A76A75D0-3E36-4296-A550-8B197C95C576}"/>
              </a:ext>
            </a:extLst>
          </p:cNvPr>
          <p:cNvSpPr/>
          <p:nvPr userDrawn="1"/>
        </p:nvSpPr>
        <p:spPr>
          <a:xfrm rot="2653743">
            <a:off x="5292922" y="1458956"/>
            <a:ext cx="4593994" cy="263354"/>
          </a:xfrm>
          <a:custGeom>
            <a:avLst/>
            <a:gdLst>
              <a:gd name="connsiteX0" fmla="*/ 1281653 w 4593994"/>
              <a:gd name="connsiteY0" fmla="*/ 0 h 263354"/>
              <a:gd name="connsiteX1" fmla="*/ 4337634 w 4593994"/>
              <a:gd name="connsiteY1" fmla="*/ 0 h 263354"/>
              <a:gd name="connsiteX2" fmla="*/ 4426355 w 4593994"/>
              <a:gd name="connsiteY2" fmla="*/ 91142 h 263354"/>
              <a:gd name="connsiteX3" fmla="*/ 0 w 4593994"/>
              <a:gd name="connsiteY3" fmla="*/ 0 h 263354"/>
              <a:gd name="connsiteX4" fmla="*/ 16 w 4593994"/>
              <a:gd name="connsiteY4" fmla="*/ 0 h 263354"/>
              <a:gd name="connsiteX5" fmla="*/ 4593994 w 4593994"/>
              <a:gd name="connsiteY5" fmla="*/ 263353 h 263354"/>
              <a:gd name="connsiteX6" fmla="*/ 4593994 w 4593994"/>
              <a:gd name="connsiteY6" fmla="*/ 263354 h 26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3994" h="263354">
                <a:moveTo>
                  <a:pt x="1281653" y="0"/>
                </a:moveTo>
                <a:lnTo>
                  <a:pt x="4337634" y="0"/>
                </a:lnTo>
                <a:lnTo>
                  <a:pt x="4426355" y="91142"/>
                </a:lnTo>
                <a:close/>
                <a:moveTo>
                  <a:pt x="0" y="0"/>
                </a:moveTo>
                <a:lnTo>
                  <a:pt x="16" y="0"/>
                </a:lnTo>
                <a:lnTo>
                  <a:pt x="4593994" y="263353"/>
                </a:lnTo>
                <a:lnTo>
                  <a:pt x="4593994" y="263354"/>
                </a:lnTo>
                <a:close/>
              </a:path>
            </a:pathLst>
          </a:custGeom>
          <a:solidFill>
            <a:schemeClr val="accent3">
              <a:lumMod val="20000"/>
              <a:lumOff val="80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2" name="Forma libre: forma 21">
            <a:extLst>
              <a:ext uri="{FF2B5EF4-FFF2-40B4-BE49-F238E27FC236}">
                <a16:creationId xmlns:a16="http://schemas.microsoft.com/office/drawing/2014/main" id="{ACE9EFE1-5F51-48F0-93C4-7B85AA4FD759}"/>
              </a:ext>
            </a:extLst>
          </p:cNvPr>
          <p:cNvSpPr/>
          <p:nvPr userDrawn="1"/>
        </p:nvSpPr>
        <p:spPr>
          <a:xfrm rot="2753350">
            <a:off x="5425189" y="1545628"/>
            <a:ext cx="4456081" cy="167283"/>
          </a:xfrm>
          <a:custGeom>
            <a:avLst/>
            <a:gdLst>
              <a:gd name="connsiteX0" fmla="*/ 39933 w 4456081"/>
              <a:gd name="connsiteY0" fmla="*/ 0 h 167283"/>
              <a:gd name="connsiteX1" fmla="*/ 4283524 w 4456081"/>
              <a:gd name="connsiteY1" fmla="*/ 1 h 167283"/>
              <a:gd name="connsiteX2" fmla="*/ 4456081 w 4456081"/>
              <a:gd name="connsiteY2" fmla="*/ 167283 h 167283"/>
              <a:gd name="connsiteX3" fmla="*/ 0 w 4456081"/>
              <a:gd name="connsiteY3" fmla="*/ 41193 h 167283"/>
            </a:gdLst>
            <a:ahLst/>
            <a:cxnLst>
              <a:cxn ang="0">
                <a:pos x="connsiteX0" y="connsiteY0"/>
              </a:cxn>
              <a:cxn ang="0">
                <a:pos x="connsiteX1" y="connsiteY1"/>
              </a:cxn>
              <a:cxn ang="0">
                <a:pos x="connsiteX2" y="connsiteY2"/>
              </a:cxn>
              <a:cxn ang="0">
                <a:pos x="connsiteX3" y="connsiteY3"/>
              </a:cxn>
            </a:cxnLst>
            <a:rect l="l" t="t" r="r" b="b"/>
            <a:pathLst>
              <a:path w="4456081" h="167283">
                <a:moveTo>
                  <a:pt x="39933" y="0"/>
                </a:moveTo>
                <a:lnTo>
                  <a:pt x="4283524" y="1"/>
                </a:lnTo>
                <a:lnTo>
                  <a:pt x="4456081" y="167283"/>
                </a:lnTo>
                <a:lnTo>
                  <a:pt x="0" y="41193"/>
                </a:lnTo>
                <a:close/>
              </a:path>
            </a:pathLst>
          </a:custGeom>
          <a:solidFill>
            <a:schemeClr val="accent4">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3" name="Forma libre: forma 22">
            <a:extLst>
              <a:ext uri="{FF2B5EF4-FFF2-40B4-BE49-F238E27FC236}">
                <a16:creationId xmlns:a16="http://schemas.microsoft.com/office/drawing/2014/main" id="{7DD9D39E-1B41-42CE-BCF4-26D2CB8FD08B}"/>
              </a:ext>
            </a:extLst>
          </p:cNvPr>
          <p:cNvSpPr/>
          <p:nvPr userDrawn="1"/>
        </p:nvSpPr>
        <p:spPr>
          <a:xfrm rot="2850599">
            <a:off x="-1172268" y="-94272"/>
            <a:ext cx="11248272" cy="7246564"/>
          </a:xfrm>
          <a:custGeom>
            <a:avLst/>
            <a:gdLst>
              <a:gd name="connsiteX0" fmla="*/ 0 w 11248272"/>
              <a:gd name="connsiteY0" fmla="*/ 4538508 h 7246564"/>
              <a:gd name="connsiteX1" fmla="*/ 4157322 w 11248272"/>
              <a:gd name="connsiteY1" fmla="*/ 0 h 7246564"/>
              <a:gd name="connsiteX2" fmla="*/ 8615189 w 11248272"/>
              <a:gd name="connsiteY2" fmla="*/ 0 h 7246564"/>
              <a:gd name="connsiteX3" fmla="*/ 11248272 w 11248272"/>
              <a:gd name="connsiteY3" fmla="*/ 2411933 h 7246564"/>
              <a:gd name="connsiteX4" fmla="*/ 6819699 w 11248272"/>
              <a:gd name="connsiteY4" fmla="*/ 7246564 h 7246564"/>
              <a:gd name="connsiteX5" fmla="*/ 2956357 w 11248272"/>
              <a:gd name="connsiteY5" fmla="*/ 7246564 h 724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8272" h="7246564">
                <a:moveTo>
                  <a:pt x="0" y="4538508"/>
                </a:moveTo>
                <a:lnTo>
                  <a:pt x="4157322" y="0"/>
                </a:lnTo>
                <a:lnTo>
                  <a:pt x="8615189" y="0"/>
                </a:lnTo>
                <a:lnTo>
                  <a:pt x="11248272" y="2411933"/>
                </a:lnTo>
                <a:lnTo>
                  <a:pt x="6819699" y="7246564"/>
                </a:lnTo>
                <a:lnTo>
                  <a:pt x="2956357" y="7246564"/>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5" name="Forma libre: forma 24">
            <a:extLst>
              <a:ext uri="{FF2B5EF4-FFF2-40B4-BE49-F238E27FC236}">
                <a16:creationId xmlns:a16="http://schemas.microsoft.com/office/drawing/2014/main" id="{6FF5EE2B-C274-49E4-87E9-6D841FE1D407}"/>
              </a:ext>
            </a:extLst>
          </p:cNvPr>
          <p:cNvSpPr/>
          <p:nvPr userDrawn="1"/>
        </p:nvSpPr>
        <p:spPr>
          <a:xfrm rot="2850599">
            <a:off x="-2432127" y="2796095"/>
            <a:ext cx="9663014" cy="3076225"/>
          </a:xfrm>
          <a:custGeom>
            <a:avLst/>
            <a:gdLst>
              <a:gd name="connsiteX0" fmla="*/ 0 w 9663014"/>
              <a:gd name="connsiteY0" fmla="*/ 395965 h 3076225"/>
              <a:gd name="connsiteX1" fmla="*/ 34391 w 9663014"/>
              <a:gd name="connsiteY1" fmla="*/ 358421 h 3076225"/>
              <a:gd name="connsiteX2" fmla="*/ 9663014 w 9663014"/>
              <a:gd name="connsiteY2" fmla="*/ 0 h 3076225"/>
              <a:gd name="connsiteX3" fmla="*/ 6845160 w 9663014"/>
              <a:gd name="connsiteY3" fmla="*/ 3076224 h 3076225"/>
              <a:gd name="connsiteX4" fmla="*/ 2926014 w 9663014"/>
              <a:gd name="connsiteY4" fmla="*/ 3076225 h 30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3014" h="3076225">
                <a:moveTo>
                  <a:pt x="0" y="395965"/>
                </a:moveTo>
                <a:lnTo>
                  <a:pt x="34391" y="358421"/>
                </a:lnTo>
                <a:lnTo>
                  <a:pt x="9663014" y="0"/>
                </a:lnTo>
                <a:lnTo>
                  <a:pt x="6845160" y="3076224"/>
                </a:lnTo>
                <a:lnTo>
                  <a:pt x="2926014" y="3076225"/>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6" name="Slide Number Placeholder 17">
            <a:extLst>
              <a:ext uri="{FF2B5EF4-FFF2-40B4-BE49-F238E27FC236}">
                <a16:creationId xmlns:a16="http://schemas.microsoft.com/office/drawing/2014/main" id="{9DD65B6A-50AB-4AAC-A694-334B4D72C7A7}"/>
              </a:ext>
            </a:extLst>
          </p:cNvPr>
          <p:cNvSpPr>
            <a:spLocks noGrp="1"/>
          </p:cNvSpPr>
          <p:nvPr>
            <p:ph type="sldNum" sz="quarter" idx="4"/>
          </p:nvPr>
        </p:nvSpPr>
        <p:spPr>
          <a:xfrm>
            <a:off x="8564716" y="6309320"/>
            <a:ext cx="360040" cy="365125"/>
          </a:xfrm>
          <a:prstGeom prst="rect">
            <a:avLst/>
          </a:prstGeom>
        </p:spPr>
        <p:txBody>
          <a:bodyPr vert="horz" lIns="0" tIns="0" rIns="0" bIns="0" anchor="b"/>
          <a:lstStyle>
            <a:lvl1pPr algn="r" eaLnBrk="1" latinLnBrk="0" hangingPunct="1">
              <a:defRPr kumimoji="0" sz="1050">
                <a:solidFill>
                  <a:schemeClr val="tx1"/>
                </a:solidFill>
                <a:latin typeface="Arial" panose="020B0604020202020204" pitchFamily="34" charset="0"/>
                <a:cs typeface="Arial" panose="020B0604020202020204" pitchFamily="34" charset="0"/>
              </a:defRPr>
            </a:lvl1pPr>
          </a:lstStyle>
          <a:p>
            <a:fld id="{BCECDAE5-3B81-401B-AAD2-D1C88E068655}" type="slidenum">
              <a:rPr lang="es-ES" smtClean="0"/>
              <a:pPr/>
              <a:t>‹Nº›</a:t>
            </a:fld>
            <a:endParaRPr lang="es-ES"/>
          </a:p>
        </p:txBody>
      </p:sp>
    </p:spTree>
    <p:extLst>
      <p:ext uri="{BB962C8B-B14F-4D97-AF65-F5344CB8AC3E}">
        <p14:creationId xmlns:p14="http://schemas.microsoft.com/office/powerpoint/2010/main" val="421314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ítulo Estrategia">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340293EA-65D7-41AF-8C73-8085F2DAF0C2}"/>
              </a:ext>
            </a:extLst>
          </p:cNvPr>
          <p:cNvGraphicFramePr>
            <a:graphicFrameLocks noChangeAspect="1"/>
          </p:cNvGraphicFramePr>
          <p:nvPr userDrawn="1">
            <p:custDataLst>
              <p:tags r:id="rId1"/>
            </p:custDataLst>
            <p:extLst>
              <p:ext uri="{D42A27DB-BD31-4B8C-83A1-F6EECF244321}">
                <p14:modId xmlns:p14="http://schemas.microsoft.com/office/powerpoint/2010/main" val="1492216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3" name="Objeto 2" hidden="1">
                        <a:extLst>
                          <a:ext uri="{FF2B5EF4-FFF2-40B4-BE49-F238E27FC236}">
                            <a16:creationId xmlns:a16="http://schemas.microsoft.com/office/drawing/2014/main" id="{340293EA-65D7-41AF-8C73-8085F2DAF0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Forma libre: forma 44">
            <a:extLst>
              <a:ext uri="{FF2B5EF4-FFF2-40B4-BE49-F238E27FC236}">
                <a16:creationId xmlns:a16="http://schemas.microsoft.com/office/drawing/2014/main" id="{013A9F5B-41A0-4BCC-805E-538DF23EAF55}"/>
              </a:ext>
            </a:extLst>
          </p:cNvPr>
          <p:cNvSpPr/>
          <p:nvPr userDrawn="1"/>
        </p:nvSpPr>
        <p:spPr>
          <a:xfrm rot="738492">
            <a:off x="-442574" y="3025343"/>
            <a:ext cx="8368685" cy="3249959"/>
          </a:xfrm>
          <a:custGeom>
            <a:avLst/>
            <a:gdLst>
              <a:gd name="connsiteX0" fmla="*/ 462155 w 8368685"/>
              <a:gd name="connsiteY0" fmla="*/ 2118176 h 3249959"/>
              <a:gd name="connsiteX1" fmla="*/ 709093 w 8368685"/>
              <a:gd name="connsiteY1" fmla="*/ 3249959 h 3249959"/>
              <a:gd name="connsiteX2" fmla="*/ 709093 w 8368685"/>
              <a:gd name="connsiteY2" fmla="*/ 3249959 h 3249959"/>
              <a:gd name="connsiteX3" fmla="*/ 0 w 8368685"/>
              <a:gd name="connsiteY3" fmla="*/ 0 h 3249959"/>
              <a:gd name="connsiteX4" fmla="*/ 8368685 w 8368685"/>
              <a:gd name="connsiteY4" fmla="*/ 0 h 3249959"/>
              <a:gd name="connsiteX5" fmla="*/ 111668 w 8368685"/>
              <a:gd name="connsiteY5" fmla="*/ 511803 h 3249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68685" h="3249959">
                <a:moveTo>
                  <a:pt x="462155" y="2118176"/>
                </a:moveTo>
                <a:lnTo>
                  <a:pt x="709093" y="3249959"/>
                </a:lnTo>
                <a:lnTo>
                  <a:pt x="709093" y="3249959"/>
                </a:lnTo>
                <a:close/>
                <a:moveTo>
                  <a:pt x="0" y="0"/>
                </a:moveTo>
                <a:lnTo>
                  <a:pt x="8368685" y="0"/>
                </a:lnTo>
                <a:lnTo>
                  <a:pt x="111668" y="511803"/>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4" name="Forma libre: forma 43">
            <a:extLst>
              <a:ext uri="{FF2B5EF4-FFF2-40B4-BE49-F238E27FC236}">
                <a16:creationId xmlns:a16="http://schemas.microsoft.com/office/drawing/2014/main" id="{366CA665-854E-4CC1-BE3E-AEA1D573D914}"/>
              </a:ext>
            </a:extLst>
          </p:cNvPr>
          <p:cNvSpPr/>
          <p:nvPr userDrawn="1"/>
        </p:nvSpPr>
        <p:spPr>
          <a:xfrm rot="618331">
            <a:off x="-97817" y="3246983"/>
            <a:ext cx="9199428" cy="263993"/>
          </a:xfrm>
          <a:custGeom>
            <a:avLst/>
            <a:gdLst>
              <a:gd name="connsiteX0" fmla="*/ 0 w 9199428"/>
              <a:gd name="connsiteY0" fmla="*/ 0 h 263993"/>
              <a:gd name="connsiteX1" fmla="*/ 9196763 w 9199428"/>
              <a:gd name="connsiteY1" fmla="*/ 0 h 263993"/>
              <a:gd name="connsiteX2" fmla="*/ 9199428 w 9199428"/>
              <a:gd name="connsiteY2" fmla="*/ 17290 h 263993"/>
              <a:gd name="connsiteX3" fmla="*/ 48002 w 9199428"/>
              <a:gd name="connsiteY3" fmla="*/ 263993 h 263993"/>
            </a:gdLst>
            <a:ahLst/>
            <a:cxnLst>
              <a:cxn ang="0">
                <a:pos x="connsiteX0" y="connsiteY0"/>
              </a:cxn>
              <a:cxn ang="0">
                <a:pos x="connsiteX1" y="connsiteY1"/>
              </a:cxn>
              <a:cxn ang="0">
                <a:pos x="connsiteX2" y="connsiteY2"/>
              </a:cxn>
              <a:cxn ang="0">
                <a:pos x="connsiteX3" y="connsiteY3"/>
              </a:cxn>
            </a:cxnLst>
            <a:rect l="l" t="t" r="r" b="b"/>
            <a:pathLst>
              <a:path w="9199428" h="263993">
                <a:moveTo>
                  <a:pt x="0" y="0"/>
                </a:moveTo>
                <a:lnTo>
                  <a:pt x="9196763" y="0"/>
                </a:lnTo>
                <a:lnTo>
                  <a:pt x="9199428" y="17290"/>
                </a:lnTo>
                <a:lnTo>
                  <a:pt x="48002" y="263993"/>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4" name="Forma libre: forma 23">
            <a:extLst>
              <a:ext uri="{FF2B5EF4-FFF2-40B4-BE49-F238E27FC236}">
                <a16:creationId xmlns:a16="http://schemas.microsoft.com/office/drawing/2014/main" id="{5FDBDE62-8E4E-4C72-A6F5-E6C1A362D933}"/>
              </a:ext>
            </a:extLst>
          </p:cNvPr>
          <p:cNvSpPr/>
          <p:nvPr userDrawn="1"/>
        </p:nvSpPr>
        <p:spPr>
          <a:xfrm rot="525679">
            <a:off x="-301913" y="3385694"/>
            <a:ext cx="9323828" cy="3249959"/>
          </a:xfrm>
          <a:custGeom>
            <a:avLst/>
            <a:gdLst>
              <a:gd name="connsiteX0" fmla="*/ 0 w 9323828"/>
              <a:gd name="connsiteY0" fmla="*/ 0 h 3249959"/>
              <a:gd name="connsiteX1" fmla="*/ 9226661 w 9323828"/>
              <a:gd name="connsiteY1" fmla="*/ 0 h 3249959"/>
              <a:gd name="connsiteX2" fmla="*/ 9323828 w 9323828"/>
              <a:gd name="connsiteY2" fmla="*/ 630475 h 3249959"/>
              <a:gd name="connsiteX3" fmla="*/ 6123942 w 9323828"/>
              <a:gd name="connsiteY3" fmla="*/ 3249959 h 3249959"/>
              <a:gd name="connsiteX4" fmla="*/ 500874 w 9323828"/>
              <a:gd name="connsiteY4" fmla="*/ 3249959 h 324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3828" h="3249959">
                <a:moveTo>
                  <a:pt x="0" y="0"/>
                </a:moveTo>
                <a:lnTo>
                  <a:pt x="9226661" y="0"/>
                </a:lnTo>
                <a:lnTo>
                  <a:pt x="9323828" y="630475"/>
                </a:lnTo>
                <a:lnTo>
                  <a:pt x="6123942" y="3249959"/>
                </a:lnTo>
                <a:lnTo>
                  <a:pt x="500874" y="3249959"/>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10418CF9-8860-4EA6-8FA8-1A06B1F83942}"/>
              </a:ext>
            </a:extLst>
          </p:cNvPr>
          <p:cNvSpPr/>
          <p:nvPr userDrawn="1"/>
        </p:nvSpPr>
        <p:spPr>
          <a:xfrm rot="525679">
            <a:off x="-89355" y="4416977"/>
            <a:ext cx="8514049" cy="2195260"/>
          </a:xfrm>
          <a:custGeom>
            <a:avLst/>
            <a:gdLst>
              <a:gd name="connsiteX0" fmla="*/ 0 w 8514049"/>
              <a:gd name="connsiteY0" fmla="*/ 837109 h 2195260"/>
              <a:gd name="connsiteX1" fmla="*/ 6240843 w 8514049"/>
              <a:gd name="connsiteY1" fmla="*/ 352487 h 2195260"/>
              <a:gd name="connsiteX2" fmla="*/ 6421651 w 8514049"/>
              <a:gd name="connsiteY2" fmla="*/ 196645 h 2195260"/>
              <a:gd name="connsiteX3" fmla="*/ 8514049 w 8514049"/>
              <a:gd name="connsiteY3" fmla="*/ 0 h 2195260"/>
              <a:gd name="connsiteX4" fmla="*/ 5832382 w 8514049"/>
              <a:gd name="connsiteY4" fmla="*/ 2195260 h 2195260"/>
              <a:gd name="connsiteX5" fmla="*/ 209314 w 8514049"/>
              <a:gd name="connsiteY5" fmla="*/ 2195260 h 219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14049" h="2195260">
                <a:moveTo>
                  <a:pt x="0" y="837109"/>
                </a:moveTo>
                <a:lnTo>
                  <a:pt x="6240843" y="352487"/>
                </a:lnTo>
                <a:lnTo>
                  <a:pt x="6421651" y="196645"/>
                </a:lnTo>
                <a:lnTo>
                  <a:pt x="8514049" y="0"/>
                </a:lnTo>
                <a:lnTo>
                  <a:pt x="5832382" y="2195260"/>
                </a:lnTo>
                <a:lnTo>
                  <a:pt x="209314" y="2195260"/>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7" name="18 Marcador de texto"/>
          <p:cNvSpPr>
            <a:spLocks noGrp="1"/>
          </p:cNvSpPr>
          <p:nvPr>
            <p:ph type="body" sz="quarter" idx="11" hasCustomPrompt="1"/>
          </p:nvPr>
        </p:nvSpPr>
        <p:spPr>
          <a:xfrm>
            <a:off x="384460" y="4738207"/>
            <a:ext cx="4763604" cy="576709"/>
          </a:xfrm>
          <a:prstGeom prst="rect">
            <a:avLst/>
          </a:prstGeom>
        </p:spPr>
        <p:txBody>
          <a:bodyPr>
            <a:normAutofit/>
          </a:bodyPr>
          <a:lstStyle>
            <a:lvl1pPr marL="0" indent="0" algn="l">
              <a:buNone/>
              <a:defRPr sz="180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Subtítulo de la presentación</a:t>
            </a:r>
          </a:p>
        </p:txBody>
      </p:sp>
      <p:sp>
        <p:nvSpPr>
          <p:cNvPr id="18" name="21 Marcador de texto"/>
          <p:cNvSpPr>
            <a:spLocks noGrp="1"/>
          </p:cNvSpPr>
          <p:nvPr>
            <p:ph type="body" sz="quarter" idx="12" hasCustomPrompt="1"/>
          </p:nvPr>
        </p:nvSpPr>
        <p:spPr>
          <a:xfrm>
            <a:off x="384460" y="5454129"/>
            <a:ext cx="4763468" cy="432742"/>
          </a:xfrm>
          <a:prstGeom prst="rect">
            <a:avLst/>
          </a:prstGeom>
        </p:spPr>
        <p:txBody>
          <a:bodyPr>
            <a:normAutofit/>
          </a:bodyPr>
          <a:lstStyle>
            <a:lvl1pPr marL="0" indent="0" algn="l">
              <a:buNone/>
              <a:defRPr sz="1350">
                <a:solidFill>
                  <a:schemeClr val="bg1"/>
                </a:solidFill>
                <a:latin typeface="Calibri" panose="020F0502020204030204" pitchFamily="34" charset="0"/>
                <a:cs typeface="Calibri" panose="020F050202020403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s-ES"/>
              <a:t>Fecha</a:t>
            </a:r>
          </a:p>
        </p:txBody>
      </p:sp>
      <p:sp>
        <p:nvSpPr>
          <p:cNvPr id="19" name="18 Marcador de texto"/>
          <p:cNvSpPr>
            <a:spLocks noGrp="1"/>
          </p:cNvSpPr>
          <p:nvPr>
            <p:ph type="body" sz="quarter" idx="13" hasCustomPrompt="1"/>
          </p:nvPr>
        </p:nvSpPr>
        <p:spPr>
          <a:xfrm>
            <a:off x="384460" y="3645023"/>
            <a:ext cx="4763604" cy="1008113"/>
          </a:xfrm>
          <a:prstGeom prst="rect">
            <a:avLst/>
          </a:prstGeom>
        </p:spPr>
        <p:txBody>
          <a:bodyPr>
            <a:normAutofit/>
          </a:bodyPr>
          <a:lstStyle>
            <a:lvl1pPr marL="0" indent="0" algn="l">
              <a:spcBef>
                <a:spcPts val="300"/>
              </a:spcBef>
              <a:buNone/>
              <a:defRPr sz="2700" b="1" baseline="0">
                <a:solidFill>
                  <a:schemeClr val="bg1"/>
                </a:solidFill>
                <a:latin typeface="Calibri" panose="020F0502020204030204" pitchFamily="34" charset="0"/>
                <a:cs typeface="Calibri" panose="020F0502020204030204" pitchFamily="34" charset="0"/>
              </a:defRPr>
            </a:lvl1pPr>
            <a:lvl2pPr marL="342900" indent="0" algn="r">
              <a:buNone/>
              <a:defRPr/>
            </a:lvl2pPr>
            <a:lvl3pPr marL="685800" indent="0" algn="r">
              <a:buNone/>
              <a:defRPr/>
            </a:lvl3pPr>
            <a:lvl4pPr marL="1028700" indent="0" algn="r">
              <a:buNone/>
              <a:defRPr/>
            </a:lvl4pPr>
            <a:lvl5pPr marL="1371600" indent="0" algn="r">
              <a:buNone/>
              <a:defRPr/>
            </a:lvl5pPr>
          </a:lstStyle>
          <a:p>
            <a:pPr lvl="0"/>
            <a:r>
              <a:rPr lang="es-ES"/>
              <a:t>Título de la presentación</a:t>
            </a:r>
          </a:p>
        </p:txBody>
      </p:sp>
      <p:cxnSp>
        <p:nvCxnSpPr>
          <p:cNvPr id="34" name="Conector recto 33">
            <a:extLst>
              <a:ext uri="{FF2B5EF4-FFF2-40B4-BE49-F238E27FC236}">
                <a16:creationId xmlns:a16="http://schemas.microsoft.com/office/drawing/2014/main" id="{85337176-BD36-4C18-8450-3A72C0339CB4}"/>
              </a:ext>
            </a:extLst>
          </p:cNvPr>
          <p:cNvCxnSpPr>
            <a:cxnSpLocks/>
          </p:cNvCxnSpPr>
          <p:nvPr userDrawn="1"/>
        </p:nvCxnSpPr>
        <p:spPr>
          <a:xfrm>
            <a:off x="375658" y="4653136"/>
            <a:ext cx="478523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Forma libre: forma 21">
            <a:extLst>
              <a:ext uri="{FF2B5EF4-FFF2-40B4-BE49-F238E27FC236}">
                <a16:creationId xmlns:a16="http://schemas.microsoft.com/office/drawing/2014/main" id="{F60A80F9-AB66-444B-9F10-03F73C21F701}"/>
              </a:ext>
            </a:extLst>
          </p:cNvPr>
          <p:cNvSpPr/>
          <p:nvPr userDrawn="1"/>
        </p:nvSpPr>
        <p:spPr>
          <a:xfrm rot="14536795">
            <a:off x="5470462" y="2152845"/>
            <a:ext cx="3059500" cy="6451098"/>
          </a:xfrm>
          <a:custGeom>
            <a:avLst/>
            <a:gdLst>
              <a:gd name="connsiteX0" fmla="*/ 3059500 w 3059500"/>
              <a:gd name="connsiteY0" fmla="*/ 6451098 h 6451098"/>
              <a:gd name="connsiteX1" fmla="*/ 0 w 3059500"/>
              <a:gd name="connsiteY1" fmla="*/ 4843457 h 6451098"/>
              <a:gd name="connsiteX2" fmla="*/ 793198 w 3059500"/>
              <a:gd name="connsiteY2" fmla="*/ 1446374 h 6451098"/>
              <a:gd name="connsiteX3" fmla="*/ 1553208 w 3059500"/>
              <a:gd name="connsiteY3" fmla="*/ 0 h 6451098"/>
            </a:gdLst>
            <a:ahLst/>
            <a:cxnLst>
              <a:cxn ang="0">
                <a:pos x="connsiteX0" y="connsiteY0"/>
              </a:cxn>
              <a:cxn ang="0">
                <a:pos x="connsiteX1" y="connsiteY1"/>
              </a:cxn>
              <a:cxn ang="0">
                <a:pos x="connsiteX2" y="connsiteY2"/>
              </a:cxn>
              <a:cxn ang="0">
                <a:pos x="connsiteX3" y="connsiteY3"/>
              </a:cxn>
            </a:cxnLst>
            <a:rect l="l" t="t" r="r" b="b"/>
            <a:pathLst>
              <a:path w="3059500" h="6451098">
                <a:moveTo>
                  <a:pt x="3059500" y="6451098"/>
                </a:moveTo>
                <a:lnTo>
                  <a:pt x="0" y="4843457"/>
                </a:lnTo>
                <a:lnTo>
                  <a:pt x="793198" y="1446374"/>
                </a:lnTo>
                <a:lnTo>
                  <a:pt x="1553208" y="0"/>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0" name="3 Marcador de texto">
            <a:extLst>
              <a:ext uri="{FF2B5EF4-FFF2-40B4-BE49-F238E27FC236}">
                <a16:creationId xmlns:a16="http://schemas.microsoft.com/office/drawing/2014/main" id="{BF58B57A-77C0-4E87-ACBD-6A4A6BAC54B0}"/>
              </a:ext>
            </a:extLst>
          </p:cNvPr>
          <p:cNvSpPr txBox="1">
            <a:spLocks/>
          </p:cNvSpPr>
          <p:nvPr userDrawn="1"/>
        </p:nvSpPr>
        <p:spPr>
          <a:xfrm>
            <a:off x="251520" y="393779"/>
            <a:ext cx="7210121" cy="1728188"/>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4000" kern="1200">
                <a:solidFill>
                  <a:schemeClr val="accent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Ø"/>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Courier New" pitchFamily="49" charset="0"/>
              <a:buChar char="o"/>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defRPr/>
            </a:pPr>
            <a:r>
              <a:rPr lang="es-ES" sz="5400" b="1">
                <a:solidFill>
                  <a:schemeClr val="accent4"/>
                </a:solidFill>
                <a:latin typeface="+mj-lt"/>
                <a:cs typeface="Arial" panose="020B0604020202020204" pitchFamily="34" charset="0"/>
              </a:rPr>
              <a:t>Estrategia</a:t>
            </a:r>
          </a:p>
        </p:txBody>
      </p:sp>
      <p:sp>
        <p:nvSpPr>
          <p:cNvPr id="27" name="Rectángulo 26">
            <a:extLst>
              <a:ext uri="{FF2B5EF4-FFF2-40B4-BE49-F238E27FC236}">
                <a16:creationId xmlns:a16="http://schemas.microsoft.com/office/drawing/2014/main" id="{F3BACC94-C291-46BD-8F47-1C36E08BF6E3}"/>
              </a:ext>
            </a:extLst>
          </p:cNvPr>
          <p:cNvSpPr/>
          <p:nvPr userDrawn="1"/>
        </p:nvSpPr>
        <p:spPr>
          <a:xfrm>
            <a:off x="1" y="6517050"/>
            <a:ext cx="1199456" cy="153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b="1">
              <a:solidFill>
                <a:schemeClr val="bg1"/>
              </a:solidFill>
            </a:endParaRPr>
          </a:p>
        </p:txBody>
      </p:sp>
      <p:sp>
        <p:nvSpPr>
          <p:cNvPr id="28" name="CuadroTexto 27">
            <a:extLst>
              <a:ext uri="{FF2B5EF4-FFF2-40B4-BE49-F238E27FC236}">
                <a16:creationId xmlns:a16="http://schemas.microsoft.com/office/drawing/2014/main" id="{2DBCC1C2-60E4-428F-8AA3-018BBEFC74AF}"/>
              </a:ext>
            </a:extLst>
          </p:cNvPr>
          <p:cNvSpPr txBox="1"/>
          <p:nvPr userDrawn="1"/>
        </p:nvSpPr>
        <p:spPr>
          <a:xfrm>
            <a:off x="0" y="6470785"/>
            <a:ext cx="1199458" cy="246221"/>
          </a:xfrm>
          <a:prstGeom prst="rect">
            <a:avLst/>
          </a:prstGeom>
          <a:noFill/>
        </p:spPr>
        <p:txBody>
          <a:bodyPr wrap="square" rtlCol="0">
            <a:spAutoFit/>
          </a:bodyPr>
          <a:lstStyle/>
          <a:p>
            <a:r>
              <a:rPr lang="es-ES" sz="1000" b="1">
                <a:solidFill>
                  <a:schemeClr val="bg1"/>
                </a:solidFill>
              </a:rPr>
              <a:t>TLP: AMBER</a:t>
            </a:r>
          </a:p>
        </p:txBody>
      </p:sp>
      <p:pic>
        <p:nvPicPr>
          <p:cNvPr id="21" name="Imagen 20">
            <a:extLst>
              <a:ext uri="{FF2B5EF4-FFF2-40B4-BE49-F238E27FC236}">
                <a16:creationId xmlns:a16="http://schemas.microsoft.com/office/drawing/2014/main" id="{DD950549-E953-4496-8ACF-1AA7F871AC10}"/>
              </a:ext>
            </a:extLst>
          </p:cNvPr>
          <p:cNvPicPr/>
          <p:nvPr userDrawn="1"/>
        </p:nvPicPr>
        <p:blipFill>
          <a:blip r:embed="rId5"/>
          <a:stretch>
            <a:fillRect/>
          </a:stretch>
        </p:blipFill>
        <p:spPr>
          <a:xfrm>
            <a:off x="3677317" y="6444125"/>
            <a:ext cx="1789366" cy="323790"/>
          </a:xfrm>
          <a:prstGeom prst="rect">
            <a:avLst/>
          </a:prstGeom>
        </p:spPr>
      </p:pic>
    </p:spTree>
    <p:extLst>
      <p:ext uri="{BB962C8B-B14F-4D97-AF65-F5344CB8AC3E}">
        <p14:creationId xmlns:p14="http://schemas.microsoft.com/office/powerpoint/2010/main" val="40754547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Gracias por su atención">
    <p:spTree>
      <p:nvGrpSpPr>
        <p:cNvPr id="1" name=""/>
        <p:cNvGrpSpPr/>
        <p:nvPr/>
      </p:nvGrpSpPr>
      <p:grpSpPr>
        <a:xfrm>
          <a:off x="0" y="0"/>
          <a:ext cx="0" cy="0"/>
          <a:chOff x="0" y="0"/>
          <a:chExt cx="0" cy="0"/>
        </a:xfrm>
      </p:grpSpPr>
      <p:graphicFrame>
        <p:nvGraphicFramePr>
          <p:cNvPr id="24" name="Objeto 23" hidden="1">
            <a:extLst>
              <a:ext uri="{FF2B5EF4-FFF2-40B4-BE49-F238E27FC236}">
                <a16:creationId xmlns:a16="http://schemas.microsoft.com/office/drawing/2014/main" id="{81D7397D-C91D-41A4-A686-41955D1D97A2}"/>
              </a:ext>
            </a:extLst>
          </p:cNvPr>
          <p:cNvGraphicFramePr>
            <a:graphicFrameLocks noChangeAspect="1"/>
          </p:cNvGraphicFramePr>
          <p:nvPr userDrawn="1">
            <p:custDataLst>
              <p:tags r:id="rId1"/>
            </p:custDataLst>
            <p:extLst>
              <p:ext uri="{D42A27DB-BD31-4B8C-83A1-F6EECF244321}">
                <p14:modId xmlns:p14="http://schemas.microsoft.com/office/powerpoint/2010/main" val="1103402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24" name="Objeto 23" hidden="1">
                        <a:extLst>
                          <a:ext uri="{FF2B5EF4-FFF2-40B4-BE49-F238E27FC236}">
                            <a16:creationId xmlns:a16="http://schemas.microsoft.com/office/drawing/2014/main" id="{81D7397D-C91D-41A4-A686-41955D1D97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5" name="Forma libre: forma 34">
            <a:extLst>
              <a:ext uri="{FF2B5EF4-FFF2-40B4-BE49-F238E27FC236}">
                <a16:creationId xmlns:a16="http://schemas.microsoft.com/office/drawing/2014/main" id="{2A35B54A-82A2-4A6F-9F50-93AD981FF25F}"/>
              </a:ext>
            </a:extLst>
          </p:cNvPr>
          <p:cNvSpPr/>
          <p:nvPr userDrawn="1"/>
        </p:nvSpPr>
        <p:spPr>
          <a:xfrm rot="2653743">
            <a:off x="5292922" y="1458956"/>
            <a:ext cx="4593994" cy="263354"/>
          </a:xfrm>
          <a:custGeom>
            <a:avLst/>
            <a:gdLst>
              <a:gd name="connsiteX0" fmla="*/ 1281653 w 4593994"/>
              <a:gd name="connsiteY0" fmla="*/ 0 h 263354"/>
              <a:gd name="connsiteX1" fmla="*/ 4337634 w 4593994"/>
              <a:gd name="connsiteY1" fmla="*/ 0 h 263354"/>
              <a:gd name="connsiteX2" fmla="*/ 4426355 w 4593994"/>
              <a:gd name="connsiteY2" fmla="*/ 91142 h 263354"/>
              <a:gd name="connsiteX3" fmla="*/ 0 w 4593994"/>
              <a:gd name="connsiteY3" fmla="*/ 0 h 263354"/>
              <a:gd name="connsiteX4" fmla="*/ 16 w 4593994"/>
              <a:gd name="connsiteY4" fmla="*/ 0 h 263354"/>
              <a:gd name="connsiteX5" fmla="*/ 4593994 w 4593994"/>
              <a:gd name="connsiteY5" fmla="*/ 263353 h 263354"/>
              <a:gd name="connsiteX6" fmla="*/ 4593994 w 4593994"/>
              <a:gd name="connsiteY6" fmla="*/ 263354 h 26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3994" h="263354">
                <a:moveTo>
                  <a:pt x="1281653" y="0"/>
                </a:moveTo>
                <a:lnTo>
                  <a:pt x="4337634" y="0"/>
                </a:lnTo>
                <a:lnTo>
                  <a:pt x="4426355" y="91142"/>
                </a:lnTo>
                <a:close/>
                <a:moveTo>
                  <a:pt x="0" y="0"/>
                </a:moveTo>
                <a:lnTo>
                  <a:pt x="16" y="0"/>
                </a:lnTo>
                <a:lnTo>
                  <a:pt x="4593994" y="263353"/>
                </a:lnTo>
                <a:lnTo>
                  <a:pt x="4593994" y="263354"/>
                </a:lnTo>
                <a:close/>
              </a:path>
            </a:pathLst>
          </a:custGeom>
          <a:solidFill>
            <a:schemeClr val="accent3">
              <a:lumMod val="20000"/>
              <a:lumOff val="80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4" name="Forma libre: forma 33">
            <a:extLst>
              <a:ext uri="{FF2B5EF4-FFF2-40B4-BE49-F238E27FC236}">
                <a16:creationId xmlns:a16="http://schemas.microsoft.com/office/drawing/2014/main" id="{735770AD-F899-4F63-9F59-3C47D5BFE539}"/>
              </a:ext>
            </a:extLst>
          </p:cNvPr>
          <p:cNvSpPr/>
          <p:nvPr userDrawn="1"/>
        </p:nvSpPr>
        <p:spPr>
          <a:xfrm rot="2753350">
            <a:off x="5425189" y="1545628"/>
            <a:ext cx="4456081" cy="167283"/>
          </a:xfrm>
          <a:custGeom>
            <a:avLst/>
            <a:gdLst>
              <a:gd name="connsiteX0" fmla="*/ 39933 w 4456081"/>
              <a:gd name="connsiteY0" fmla="*/ 0 h 167283"/>
              <a:gd name="connsiteX1" fmla="*/ 4283524 w 4456081"/>
              <a:gd name="connsiteY1" fmla="*/ 1 h 167283"/>
              <a:gd name="connsiteX2" fmla="*/ 4456081 w 4456081"/>
              <a:gd name="connsiteY2" fmla="*/ 167283 h 167283"/>
              <a:gd name="connsiteX3" fmla="*/ 0 w 4456081"/>
              <a:gd name="connsiteY3" fmla="*/ 41193 h 167283"/>
            </a:gdLst>
            <a:ahLst/>
            <a:cxnLst>
              <a:cxn ang="0">
                <a:pos x="connsiteX0" y="connsiteY0"/>
              </a:cxn>
              <a:cxn ang="0">
                <a:pos x="connsiteX1" y="connsiteY1"/>
              </a:cxn>
              <a:cxn ang="0">
                <a:pos x="connsiteX2" y="connsiteY2"/>
              </a:cxn>
              <a:cxn ang="0">
                <a:pos x="connsiteX3" y="connsiteY3"/>
              </a:cxn>
            </a:cxnLst>
            <a:rect l="l" t="t" r="r" b="b"/>
            <a:pathLst>
              <a:path w="4456081" h="167283">
                <a:moveTo>
                  <a:pt x="39933" y="0"/>
                </a:moveTo>
                <a:lnTo>
                  <a:pt x="4283524" y="1"/>
                </a:lnTo>
                <a:lnTo>
                  <a:pt x="4456081" y="167283"/>
                </a:lnTo>
                <a:lnTo>
                  <a:pt x="0" y="41193"/>
                </a:lnTo>
                <a:close/>
              </a:path>
            </a:pathLst>
          </a:custGeom>
          <a:solidFill>
            <a:schemeClr val="accent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9" name="Forma libre: forma 28">
            <a:extLst>
              <a:ext uri="{FF2B5EF4-FFF2-40B4-BE49-F238E27FC236}">
                <a16:creationId xmlns:a16="http://schemas.microsoft.com/office/drawing/2014/main" id="{188B82AC-2450-4084-8C3C-2B90D1710E50}"/>
              </a:ext>
            </a:extLst>
          </p:cNvPr>
          <p:cNvSpPr/>
          <p:nvPr userDrawn="1"/>
        </p:nvSpPr>
        <p:spPr>
          <a:xfrm rot="2850599">
            <a:off x="-1172268" y="-94272"/>
            <a:ext cx="11248272" cy="7246564"/>
          </a:xfrm>
          <a:custGeom>
            <a:avLst/>
            <a:gdLst>
              <a:gd name="connsiteX0" fmla="*/ 0 w 11248272"/>
              <a:gd name="connsiteY0" fmla="*/ 4538508 h 7246564"/>
              <a:gd name="connsiteX1" fmla="*/ 4157322 w 11248272"/>
              <a:gd name="connsiteY1" fmla="*/ 0 h 7246564"/>
              <a:gd name="connsiteX2" fmla="*/ 8615189 w 11248272"/>
              <a:gd name="connsiteY2" fmla="*/ 0 h 7246564"/>
              <a:gd name="connsiteX3" fmla="*/ 11248272 w 11248272"/>
              <a:gd name="connsiteY3" fmla="*/ 2411933 h 7246564"/>
              <a:gd name="connsiteX4" fmla="*/ 6819699 w 11248272"/>
              <a:gd name="connsiteY4" fmla="*/ 7246564 h 7246564"/>
              <a:gd name="connsiteX5" fmla="*/ 2956357 w 11248272"/>
              <a:gd name="connsiteY5" fmla="*/ 7246564 h 724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8272" h="7246564">
                <a:moveTo>
                  <a:pt x="0" y="4538508"/>
                </a:moveTo>
                <a:lnTo>
                  <a:pt x="4157322" y="0"/>
                </a:lnTo>
                <a:lnTo>
                  <a:pt x="8615189" y="0"/>
                </a:lnTo>
                <a:lnTo>
                  <a:pt x="11248272" y="2411933"/>
                </a:lnTo>
                <a:lnTo>
                  <a:pt x="6819699" y="7246564"/>
                </a:lnTo>
                <a:lnTo>
                  <a:pt x="2956357" y="7246564"/>
                </a:lnTo>
                <a:close/>
              </a:path>
            </a:pathLst>
          </a:custGeom>
          <a:solidFill>
            <a:schemeClr val="tx2">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5" name="Forma libre: forma 24">
            <a:extLst>
              <a:ext uri="{FF2B5EF4-FFF2-40B4-BE49-F238E27FC236}">
                <a16:creationId xmlns:a16="http://schemas.microsoft.com/office/drawing/2014/main" id="{3BF9DB07-1B7F-40C9-BB65-CA527B8E08D8}"/>
              </a:ext>
            </a:extLst>
          </p:cNvPr>
          <p:cNvSpPr/>
          <p:nvPr userDrawn="1"/>
        </p:nvSpPr>
        <p:spPr>
          <a:xfrm rot="2850599">
            <a:off x="-2432127" y="2796095"/>
            <a:ext cx="9663014" cy="3076225"/>
          </a:xfrm>
          <a:custGeom>
            <a:avLst/>
            <a:gdLst>
              <a:gd name="connsiteX0" fmla="*/ 0 w 9663014"/>
              <a:gd name="connsiteY0" fmla="*/ 395965 h 3076225"/>
              <a:gd name="connsiteX1" fmla="*/ 34391 w 9663014"/>
              <a:gd name="connsiteY1" fmla="*/ 358421 h 3076225"/>
              <a:gd name="connsiteX2" fmla="*/ 9663014 w 9663014"/>
              <a:gd name="connsiteY2" fmla="*/ 0 h 3076225"/>
              <a:gd name="connsiteX3" fmla="*/ 6845160 w 9663014"/>
              <a:gd name="connsiteY3" fmla="*/ 3076224 h 3076225"/>
              <a:gd name="connsiteX4" fmla="*/ 2926014 w 9663014"/>
              <a:gd name="connsiteY4" fmla="*/ 3076225 h 3076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63014" h="3076225">
                <a:moveTo>
                  <a:pt x="0" y="395965"/>
                </a:moveTo>
                <a:lnTo>
                  <a:pt x="34391" y="358421"/>
                </a:lnTo>
                <a:lnTo>
                  <a:pt x="9663014" y="0"/>
                </a:lnTo>
                <a:lnTo>
                  <a:pt x="6845160" y="3076224"/>
                </a:lnTo>
                <a:lnTo>
                  <a:pt x="2926014" y="3076225"/>
                </a:lnTo>
                <a:close/>
              </a:path>
            </a:pathLst>
          </a:custGeom>
          <a:solidFill>
            <a:schemeClr val="tx2">
              <a:lumMod val="75000"/>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Slide Number Placeholder 17">
            <a:extLst>
              <a:ext uri="{FF2B5EF4-FFF2-40B4-BE49-F238E27FC236}">
                <a16:creationId xmlns:a16="http://schemas.microsoft.com/office/drawing/2014/main" id="{4B31578C-2837-45C4-B575-B7C58CDB8FEB}"/>
              </a:ext>
            </a:extLst>
          </p:cNvPr>
          <p:cNvSpPr>
            <a:spLocks noGrp="1"/>
          </p:cNvSpPr>
          <p:nvPr>
            <p:ph type="sldNum" sz="quarter" idx="4"/>
          </p:nvPr>
        </p:nvSpPr>
        <p:spPr>
          <a:xfrm>
            <a:off x="8564716" y="6309320"/>
            <a:ext cx="360040" cy="365125"/>
          </a:xfrm>
          <a:prstGeom prst="rect">
            <a:avLst/>
          </a:prstGeom>
        </p:spPr>
        <p:txBody>
          <a:bodyPr vert="horz" lIns="0" tIns="0" rIns="0" bIns="0" anchor="b"/>
          <a:lstStyle>
            <a:lvl1pPr algn="r" eaLnBrk="1" latinLnBrk="0" hangingPunct="1">
              <a:defRPr kumimoji="0" sz="1050">
                <a:solidFill>
                  <a:schemeClr val="tx1"/>
                </a:solidFill>
                <a:latin typeface="Arial" panose="020B0604020202020204" pitchFamily="34" charset="0"/>
                <a:cs typeface="Arial" panose="020B0604020202020204" pitchFamily="34" charset="0"/>
              </a:defRPr>
            </a:lvl1pPr>
          </a:lstStyle>
          <a:p>
            <a:fld id="{BCECDAE5-3B81-401B-AAD2-D1C88E068655}" type="slidenum">
              <a:rPr lang="es-ES" smtClean="0"/>
              <a:pPr/>
              <a:t>‹Nº›</a:t>
            </a:fld>
            <a:endParaRPr lang="es-ES"/>
          </a:p>
        </p:txBody>
      </p:sp>
    </p:spTree>
    <p:extLst>
      <p:ext uri="{BB962C8B-B14F-4D97-AF65-F5344CB8AC3E}">
        <p14:creationId xmlns:p14="http://schemas.microsoft.com/office/powerpoint/2010/main" val="16447618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ido">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12"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p:txBody>
      </p:sp>
      <p:sp>
        <p:nvSpPr>
          <p:cNvPr id="13"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4"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6"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0" name="Forma libre: forma 40">
            <a:extLst>
              <a:ext uri="{FF2B5EF4-FFF2-40B4-BE49-F238E27FC236}">
                <a16:creationId xmlns:a16="http://schemas.microsoft.com/office/drawing/2014/main" id="{2D43060D-A98B-464D-A050-76EB4A80CBC5}"/>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1" name="Título 1">
            <a:extLst>
              <a:ext uri="{FF2B5EF4-FFF2-40B4-BE49-F238E27FC236}">
                <a16:creationId xmlns:a16="http://schemas.microsoft.com/office/drawing/2014/main" id="{8E6A21A6-EB96-426D-9233-3E6A43A133E1}"/>
              </a:ext>
            </a:extLst>
          </p:cNvPr>
          <p:cNvSpPr>
            <a:spLocks noGrp="1"/>
          </p:cNvSpPr>
          <p:nvPr>
            <p:ph type="title" hasCustomPrompt="1"/>
          </p:nvPr>
        </p:nvSpPr>
        <p:spPr>
          <a:xfrm>
            <a:off x="59634" y="-274036"/>
            <a:ext cx="8865122" cy="1143000"/>
          </a:xfrm>
        </p:spPr>
        <p:txBody>
          <a:bodyPr>
            <a:normAutofit/>
          </a:bodyPr>
          <a:lstStyle>
            <a:lvl1pPr algn="l">
              <a:defRPr sz="2000" b="1">
                <a:solidFill>
                  <a:schemeClr val="bg1"/>
                </a:solidFill>
              </a:defRPr>
            </a:lvl1pPr>
          </a:lstStyle>
          <a:p>
            <a:r>
              <a:rPr lang="es-ES"/>
              <a:t>HAGA CLIC PARA MODIFICAR EL ESTILO DE TÍTULO DEL PATRÓN</a:t>
            </a:r>
          </a:p>
        </p:txBody>
      </p:sp>
      <p:sp>
        <p:nvSpPr>
          <p:cNvPr id="22" name="5 Marcador de número de diapositiva">
            <a:extLst>
              <a:ext uri="{FF2B5EF4-FFF2-40B4-BE49-F238E27FC236}">
                <a16:creationId xmlns:a16="http://schemas.microsoft.com/office/drawing/2014/main" id="{ACDDCC9B-ADD3-418D-B1D5-372168D1E008}"/>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a:p>
        </p:txBody>
      </p:sp>
    </p:spTree>
    <p:extLst>
      <p:ext uri="{BB962C8B-B14F-4D97-AF65-F5344CB8AC3E}">
        <p14:creationId xmlns:p14="http://schemas.microsoft.com/office/powerpoint/2010/main" val="39412328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Índice">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4051446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Forma libre: forma 40">
            <a:extLst>
              <a:ext uri="{FF2B5EF4-FFF2-40B4-BE49-F238E27FC236}">
                <a16:creationId xmlns:a16="http://schemas.microsoft.com/office/drawing/2014/main" id="{AF6F07A7-7B1F-4991-8CB9-A3234572F24D}"/>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D757F954-3FA8-4895-94D3-2A3BF7120129}"/>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4" name="Forma libre: forma 23">
            <a:extLst>
              <a:ext uri="{FF2B5EF4-FFF2-40B4-BE49-F238E27FC236}">
                <a16:creationId xmlns:a16="http://schemas.microsoft.com/office/drawing/2014/main" id="{58AACA53-106B-4472-9D00-ECA91BC25551}"/>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7" name="Forma libre: forma 36">
            <a:extLst>
              <a:ext uri="{FF2B5EF4-FFF2-40B4-BE49-F238E27FC236}">
                <a16:creationId xmlns:a16="http://schemas.microsoft.com/office/drawing/2014/main" id="{45145C93-3CB9-42B5-AB02-012CAD888E4C}"/>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0" name="Forma libre: forma 19">
            <a:extLst>
              <a:ext uri="{FF2B5EF4-FFF2-40B4-BE49-F238E27FC236}">
                <a16:creationId xmlns:a16="http://schemas.microsoft.com/office/drawing/2014/main" id="{32852021-F90F-422A-B58C-81A3D08D2C09}"/>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pic>
        <p:nvPicPr>
          <p:cNvPr id="9" name="Imagen 8">
            <a:extLst>
              <a:ext uri="{FF2B5EF4-FFF2-40B4-BE49-F238E27FC236}">
                <a16:creationId xmlns:a16="http://schemas.microsoft.com/office/drawing/2014/main" id="{08FC37E0-8DD9-4073-B970-AEFC99825ABC}"/>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3511224" y="6466607"/>
            <a:ext cx="2121552" cy="303078"/>
          </a:xfrm>
          <a:prstGeom prst="rect">
            <a:avLst/>
          </a:prstGeom>
        </p:spPr>
      </p:pic>
    </p:spTree>
    <p:extLst>
      <p:ext uri="{BB962C8B-B14F-4D97-AF65-F5344CB8AC3E}">
        <p14:creationId xmlns:p14="http://schemas.microsoft.com/office/powerpoint/2010/main" val="22777489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Índice Metodología">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237165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Forma libre: forma 40">
            <a:extLst>
              <a:ext uri="{FF2B5EF4-FFF2-40B4-BE49-F238E27FC236}">
                <a16:creationId xmlns:a16="http://schemas.microsoft.com/office/drawing/2014/main" id="{AF6F07A7-7B1F-4991-8CB9-A3234572F24D}"/>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D757F954-3FA8-4895-94D3-2A3BF7120129}"/>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4" name="Forma libre: forma 23">
            <a:extLst>
              <a:ext uri="{FF2B5EF4-FFF2-40B4-BE49-F238E27FC236}">
                <a16:creationId xmlns:a16="http://schemas.microsoft.com/office/drawing/2014/main" id="{58AACA53-106B-4472-9D00-ECA91BC25551}"/>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7" name="Forma libre: forma 36">
            <a:extLst>
              <a:ext uri="{FF2B5EF4-FFF2-40B4-BE49-F238E27FC236}">
                <a16:creationId xmlns:a16="http://schemas.microsoft.com/office/drawing/2014/main" id="{45145C93-3CB9-42B5-AB02-012CAD888E4C}"/>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0" name="Forma libre: forma 19">
            <a:extLst>
              <a:ext uri="{FF2B5EF4-FFF2-40B4-BE49-F238E27FC236}">
                <a16:creationId xmlns:a16="http://schemas.microsoft.com/office/drawing/2014/main" id="{32852021-F90F-422A-B58C-81A3D08D2C09}"/>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pic>
        <p:nvPicPr>
          <p:cNvPr id="10" name="Imagen 9">
            <a:extLst>
              <a:ext uri="{FF2B5EF4-FFF2-40B4-BE49-F238E27FC236}">
                <a16:creationId xmlns:a16="http://schemas.microsoft.com/office/drawing/2014/main" id="{CB5E6E0E-5192-45C0-BAB0-AE75FFAF8B1D}"/>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3511224" y="6466607"/>
            <a:ext cx="2121552" cy="303078"/>
          </a:xfrm>
          <a:prstGeom prst="rect">
            <a:avLst/>
          </a:prstGeom>
        </p:spPr>
      </p:pic>
    </p:spTree>
    <p:extLst>
      <p:ext uri="{BB962C8B-B14F-4D97-AF65-F5344CB8AC3E}">
        <p14:creationId xmlns:p14="http://schemas.microsoft.com/office/powerpoint/2010/main" val="24144918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Índice Estrategia">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4280307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4" progId="TCLayout.ActiveDocument.1">
                  <p:embed/>
                </p:oleObj>
              </mc:Choice>
              <mc:Fallback>
                <p:oleObj name="Diapositiva de think-cell" r:id="rId3"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Forma libre: forma 40">
            <a:extLst>
              <a:ext uri="{FF2B5EF4-FFF2-40B4-BE49-F238E27FC236}">
                <a16:creationId xmlns:a16="http://schemas.microsoft.com/office/drawing/2014/main" id="{AF6F07A7-7B1F-4991-8CB9-A3234572F24D}"/>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D757F954-3FA8-4895-94D3-2A3BF7120129}"/>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4" name="Forma libre: forma 23">
            <a:extLst>
              <a:ext uri="{FF2B5EF4-FFF2-40B4-BE49-F238E27FC236}">
                <a16:creationId xmlns:a16="http://schemas.microsoft.com/office/drawing/2014/main" id="{58AACA53-106B-4472-9D00-ECA91BC25551}"/>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7" name="Forma libre: forma 36">
            <a:extLst>
              <a:ext uri="{FF2B5EF4-FFF2-40B4-BE49-F238E27FC236}">
                <a16:creationId xmlns:a16="http://schemas.microsoft.com/office/drawing/2014/main" id="{45145C93-3CB9-42B5-AB02-012CAD888E4C}"/>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0" name="Forma libre: forma 19">
            <a:extLst>
              <a:ext uri="{FF2B5EF4-FFF2-40B4-BE49-F238E27FC236}">
                <a16:creationId xmlns:a16="http://schemas.microsoft.com/office/drawing/2014/main" id="{32852021-F90F-422A-B58C-81A3D08D2C09}"/>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pic>
        <p:nvPicPr>
          <p:cNvPr id="10" name="Imagen 9">
            <a:extLst>
              <a:ext uri="{FF2B5EF4-FFF2-40B4-BE49-F238E27FC236}">
                <a16:creationId xmlns:a16="http://schemas.microsoft.com/office/drawing/2014/main" id="{625AFC08-98AB-43AD-9DDB-9A0A7A01D24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3511224" y="6466607"/>
            <a:ext cx="2121552" cy="303078"/>
          </a:xfrm>
          <a:prstGeom prst="rect">
            <a:avLst/>
          </a:prstGeom>
        </p:spPr>
      </p:pic>
    </p:spTree>
    <p:extLst>
      <p:ext uri="{BB962C8B-B14F-4D97-AF65-F5344CB8AC3E}">
        <p14:creationId xmlns:p14="http://schemas.microsoft.com/office/powerpoint/2010/main" val="36916150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ción">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2209253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3F74CFE-774D-43F8-BCA3-F1244456F2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2000" b="1" i="0" baseline="0">
              <a:latin typeface="Calibri" panose="020F0502020204030204" pitchFamily="34" charset="0"/>
              <a:ea typeface="+mj-ea"/>
              <a:cs typeface="+mj-cs"/>
              <a:sym typeface="Calibri" panose="020F0502020204030204" pitchFamily="34" charset="0"/>
            </a:endParaRPr>
          </a:p>
        </p:txBody>
      </p:sp>
      <p:sp>
        <p:nvSpPr>
          <p:cNvPr id="9"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37"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8"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9"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21" name="5 Marcador de número de diapositiva">
            <a:extLst>
              <a:ext uri="{FF2B5EF4-FFF2-40B4-BE49-F238E27FC236}">
                <a16:creationId xmlns:a16="http://schemas.microsoft.com/office/drawing/2014/main" id="{DF893BE7-590E-4A33-B8B8-FD3D8B2361D8}"/>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a:p>
        </p:txBody>
      </p:sp>
      <p:pic>
        <p:nvPicPr>
          <p:cNvPr id="4" name="Imagen 3">
            <a:extLst>
              <a:ext uri="{FF2B5EF4-FFF2-40B4-BE49-F238E27FC236}">
                <a16:creationId xmlns:a16="http://schemas.microsoft.com/office/drawing/2014/main" id="{BCD1D326-5B42-4A8E-B808-444EFE2ACBAF}"/>
              </a:ext>
            </a:extLst>
          </p:cNvPr>
          <p:cNvPicPr>
            <a:picLocks noChangeAspect="1"/>
          </p:cNvPicPr>
          <p:nvPr userDrawn="1"/>
        </p:nvPicPr>
        <p:blipFill rotWithShape="1">
          <a:blip r:embed="rId6"/>
          <a:srcRect t="13571" r="20820"/>
          <a:stretch/>
        </p:blipFill>
        <p:spPr>
          <a:xfrm>
            <a:off x="7903394" y="0"/>
            <a:ext cx="1240606" cy="1243525"/>
          </a:xfrm>
          <a:prstGeom prst="rect">
            <a:avLst/>
          </a:prstGeom>
        </p:spPr>
      </p:pic>
      <p:pic>
        <p:nvPicPr>
          <p:cNvPr id="12" name="Imagen 11">
            <a:extLst>
              <a:ext uri="{FF2B5EF4-FFF2-40B4-BE49-F238E27FC236}">
                <a16:creationId xmlns:a16="http://schemas.microsoft.com/office/drawing/2014/main" id="{BD042F2B-4E0A-4291-B368-13C36E072041}"/>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3511224" y="6466607"/>
            <a:ext cx="2121552" cy="303078"/>
          </a:xfrm>
          <a:prstGeom prst="rect">
            <a:avLst/>
          </a:prstGeom>
        </p:spPr>
      </p:pic>
    </p:spTree>
    <p:extLst>
      <p:ext uri="{BB962C8B-B14F-4D97-AF65-F5344CB8AC3E}">
        <p14:creationId xmlns:p14="http://schemas.microsoft.com/office/powerpoint/2010/main" val="16159439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ción Metodología">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368990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3F74CFE-774D-43F8-BCA3-F1244456F2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2000" b="1" i="0" baseline="0">
              <a:latin typeface="Calibri" panose="020F0502020204030204" pitchFamily="34" charset="0"/>
              <a:ea typeface="+mj-ea"/>
              <a:cs typeface="+mj-cs"/>
              <a:sym typeface="Calibri" panose="020F0502020204030204" pitchFamily="34" charset="0"/>
            </a:endParaRPr>
          </a:p>
        </p:txBody>
      </p:sp>
      <p:sp>
        <p:nvSpPr>
          <p:cNvPr id="9"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11"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p:txBody>
      </p:sp>
      <p:sp>
        <p:nvSpPr>
          <p:cNvPr id="37"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8"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9"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2D43060D-A98B-464D-A050-76EB4A80CBC5}"/>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Título 1">
            <a:extLst>
              <a:ext uri="{FF2B5EF4-FFF2-40B4-BE49-F238E27FC236}">
                <a16:creationId xmlns:a16="http://schemas.microsoft.com/office/drawing/2014/main" id="{8E6A21A6-EB96-426D-9233-3E6A43A133E1}"/>
              </a:ext>
            </a:extLst>
          </p:cNvPr>
          <p:cNvSpPr>
            <a:spLocks noGrp="1"/>
          </p:cNvSpPr>
          <p:nvPr>
            <p:ph type="title" hasCustomPrompt="1"/>
          </p:nvPr>
        </p:nvSpPr>
        <p:spPr>
          <a:xfrm>
            <a:off x="59634" y="-274036"/>
            <a:ext cx="8865122" cy="1143000"/>
          </a:xfrm>
        </p:spPr>
        <p:txBody>
          <a:bodyPr>
            <a:normAutofit/>
          </a:bodyPr>
          <a:lstStyle>
            <a:lvl1pPr algn="l">
              <a:defRPr sz="2000" b="1">
                <a:solidFill>
                  <a:schemeClr val="bg1"/>
                </a:solidFill>
              </a:defRPr>
            </a:lvl1pPr>
          </a:lstStyle>
          <a:p>
            <a:r>
              <a:rPr lang="es-ES"/>
              <a:t>HAGA CLIC PARA MODIFICAR EL ESTILO DE TÍTULO DEL PATRÓN</a:t>
            </a:r>
          </a:p>
        </p:txBody>
      </p:sp>
      <p:sp>
        <p:nvSpPr>
          <p:cNvPr id="20" name="5 Marcador de número de diapositiva">
            <a:extLst>
              <a:ext uri="{FF2B5EF4-FFF2-40B4-BE49-F238E27FC236}">
                <a16:creationId xmlns:a16="http://schemas.microsoft.com/office/drawing/2014/main" id="{E44973C9-CBB5-408A-BB10-BD4BF6CD9BA6}"/>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a:p>
        </p:txBody>
      </p:sp>
      <p:pic>
        <p:nvPicPr>
          <p:cNvPr id="14" name="Imagen 13">
            <a:extLst>
              <a:ext uri="{FF2B5EF4-FFF2-40B4-BE49-F238E27FC236}">
                <a16:creationId xmlns:a16="http://schemas.microsoft.com/office/drawing/2014/main" id="{2F1EBE85-ECCB-424E-B30B-4D81D935C9E8}"/>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511224" y="6466607"/>
            <a:ext cx="2121552" cy="303078"/>
          </a:xfrm>
          <a:prstGeom prst="rect">
            <a:avLst/>
          </a:prstGeom>
        </p:spPr>
      </p:pic>
    </p:spTree>
    <p:extLst>
      <p:ext uri="{BB962C8B-B14F-4D97-AF65-F5344CB8AC3E}">
        <p14:creationId xmlns:p14="http://schemas.microsoft.com/office/powerpoint/2010/main" val="969319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ción Estrategia">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id="{84E62079-D18D-4018-A12B-BDD165DE8293}"/>
              </a:ext>
            </a:extLst>
          </p:cNvPr>
          <p:cNvGraphicFramePr>
            <a:graphicFrameLocks noChangeAspect="1"/>
          </p:cNvGraphicFramePr>
          <p:nvPr userDrawn="1">
            <p:custDataLst>
              <p:tags r:id="rId1"/>
            </p:custDataLst>
            <p:extLst>
              <p:ext uri="{D42A27DB-BD31-4B8C-83A1-F6EECF244321}">
                <p14:modId xmlns:p14="http://schemas.microsoft.com/office/powerpoint/2010/main" val="2043352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95" imgH="394" progId="TCLayout.ActiveDocument.1">
                  <p:embed/>
                </p:oleObj>
              </mc:Choice>
              <mc:Fallback>
                <p:oleObj name="Diapositiva de think-cell" r:id="rId4" imgW="395" imgH="394" progId="TCLayout.ActiveDocument.1">
                  <p:embed/>
                  <p:pic>
                    <p:nvPicPr>
                      <p:cNvPr id="3" name="Objeto 2" hidden="1">
                        <a:extLst>
                          <a:ext uri="{FF2B5EF4-FFF2-40B4-BE49-F238E27FC236}">
                            <a16:creationId xmlns:a16="http://schemas.microsoft.com/office/drawing/2014/main" id="{84E62079-D18D-4018-A12B-BDD165DE82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3F74CFE-774D-43F8-BCA3-F1244456F2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2000" b="1" i="0" baseline="0">
              <a:latin typeface="Calibri" panose="020F0502020204030204" pitchFamily="34" charset="0"/>
              <a:ea typeface="+mj-ea"/>
              <a:cs typeface="+mj-cs"/>
              <a:sym typeface="Calibri" panose="020F0502020204030204" pitchFamily="34" charset="0"/>
            </a:endParaRPr>
          </a:p>
        </p:txBody>
      </p:sp>
      <p:sp>
        <p:nvSpPr>
          <p:cNvPr id="9" name="Content Placeholder 2">
            <a:extLst>
              <a:ext uri="{FF2B5EF4-FFF2-40B4-BE49-F238E27FC236}">
                <a16:creationId xmlns:a16="http://schemas.microsoft.com/office/drawing/2014/main" id="{E86846D9-1D55-4859-BFE1-A59DBB33D62F}"/>
              </a:ext>
            </a:extLst>
          </p:cNvPr>
          <p:cNvSpPr>
            <a:spLocks noGrp="1"/>
          </p:cNvSpPr>
          <p:nvPr>
            <p:ph idx="1" hasCustomPrompt="1"/>
          </p:nvPr>
        </p:nvSpPr>
        <p:spPr>
          <a:xfrm>
            <a:off x="351619" y="1916832"/>
            <a:ext cx="8335179" cy="4389120"/>
          </a:xfrm>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a:p>
            <a:pPr lvl="1" eaLnBrk="1" latinLnBrk="0" hangingPunct="1"/>
            <a:r>
              <a:rPr lang="es-ES"/>
              <a:t>Segundo nivel</a:t>
            </a:r>
          </a:p>
          <a:p>
            <a:pPr lvl="2" eaLnBrk="1" latinLnBrk="0" hangingPunct="1"/>
            <a:r>
              <a:rPr lang="es-ES"/>
              <a:t>Tercer nivel</a:t>
            </a:r>
          </a:p>
          <a:p>
            <a:pPr lvl="3" eaLnBrk="1" latinLnBrk="0" hangingPunct="1"/>
            <a:r>
              <a:rPr lang="es-ES"/>
              <a:t>Cuarto nivel</a:t>
            </a:r>
          </a:p>
          <a:p>
            <a:pPr lvl="4" eaLnBrk="1" latinLnBrk="0" hangingPunct="1"/>
            <a:r>
              <a:rPr lang="es-ES"/>
              <a:t>Quinto nivel</a:t>
            </a:r>
            <a:endParaRPr kumimoji="0" lang="en-US"/>
          </a:p>
        </p:txBody>
      </p:sp>
      <p:sp>
        <p:nvSpPr>
          <p:cNvPr id="11" name="Content Placeholder 2">
            <a:extLst>
              <a:ext uri="{FF2B5EF4-FFF2-40B4-BE49-F238E27FC236}">
                <a16:creationId xmlns:a16="http://schemas.microsoft.com/office/drawing/2014/main" id="{A15C72D9-F988-4AB8-B723-B34FC7EEF506}"/>
              </a:ext>
            </a:extLst>
          </p:cNvPr>
          <p:cNvSpPr>
            <a:spLocks noGrp="1"/>
          </p:cNvSpPr>
          <p:nvPr>
            <p:ph idx="10" hasCustomPrompt="1"/>
          </p:nvPr>
        </p:nvSpPr>
        <p:spPr>
          <a:xfrm>
            <a:off x="351620" y="935464"/>
            <a:ext cx="8335179" cy="738664"/>
          </a:xfrm>
        </p:spPr>
        <p:txBody>
          <a:bodyPr/>
          <a:lstStyle>
            <a:lvl1pPr>
              <a:buNone/>
              <a:defRPr sz="1400">
                <a:latin typeface="Calibri" panose="020F0502020204030204" pitchFamily="34" charset="0"/>
                <a:cs typeface="Calibri" panose="020F0502020204030204" pitchFamily="34" charset="0"/>
              </a:defRPr>
            </a:lvl1pPr>
            <a:lvl2pPr>
              <a:buNone/>
              <a:defRPr sz="1400">
                <a:latin typeface="Calibri" panose="020F0502020204030204" pitchFamily="34" charset="0"/>
                <a:cs typeface="Calibri" panose="020F0502020204030204" pitchFamily="34" charset="0"/>
              </a:defRPr>
            </a:lvl2pPr>
            <a:lvl3pPr>
              <a:defRPr sz="14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400">
                <a:latin typeface="Calibri" panose="020F0502020204030204" pitchFamily="34" charset="0"/>
                <a:cs typeface="Calibri" panose="020F0502020204030204" pitchFamily="34" charset="0"/>
              </a:defRPr>
            </a:lvl5pPr>
          </a:lstStyle>
          <a:p>
            <a:pPr lvl="0" eaLnBrk="1" latinLnBrk="0" hangingPunct="1"/>
            <a:r>
              <a:rPr lang="es-ES"/>
              <a:t>Haga clic para modificar el estilo de texto del patrón</a:t>
            </a:r>
          </a:p>
        </p:txBody>
      </p:sp>
      <p:sp>
        <p:nvSpPr>
          <p:cNvPr id="37" name="Forma libre: forma 36">
            <a:extLst>
              <a:ext uri="{FF2B5EF4-FFF2-40B4-BE49-F238E27FC236}">
                <a16:creationId xmlns:a16="http://schemas.microsoft.com/office/drawing/2014/main" id="{E2E73D8F-5D29-447B-9E76-6B659A3C6A41}"/>
              </a:ext>
            </a:extLst>
          </p:cNvPr>
          <p:cNvSpPr/>
          <p:nvPr userDrawn="1"/>
        </p:nvSpPr>
        <p:spPr>
          <a:xfrm rot="10680000" flipH="1">
            <a:off x="-28046" y="-153277"/>
            <a:ext cx="8826860" cy="821599"/>
          </a:xfrm>
          <a:custGeom>
            <a:avLst/>
            <a:gdLst>
              <a:gd name="connsiteX0" fmla="*/ 28691 w 8826860"/>
              <a:gd name="connsiteY0" fmla="*/ 821599 h 821599"/>
              <a:gd name="connsiteX1" fmla="*/ 8826860 w 8826860"/>
              <a:gd name="connsiteY1" fmla="*/ 514360 h 821599"/>
              <a:gd name="connsiteX2" fmla="*/ 8826860 w 8826860"/>
              <a:gd name="connsiteY2" fmla="*/ 514359 h 821599"/>
              <a:gd name="connsiteX3" fmla="*/ 28691 w 8826860"/>
              <a:gd name="connsiteY3" fmla="*/ 821598 h 821599"/>
              <a:gd name="connsiteX4" fmla="*/ 8844 w 8826860"/>
              <a:gd name="connsiteY4" fmla="*/ 253241 h 821599"/>
              <a:gd name="connsiteX5" fmla="*/ 8292744 w 8826860"/>
              <a:gd name="connsiteY5" fmla="*/ 0 h 821599"/>
              <a:gd name="connsiteX6" fmla="*/ 0 w 8826860"/>
              <a:gd name="connsiteY6" fmla="*/ 0 h 821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26860" h="821599">
                <a:moveTo>
                  <a:pt x="28691" y="821599"/>
                </a:moveTo>
                <a:lnTo>
                  <a:pt x="8826860" y="514360"/>
                </a:lnTo>
                <a:lnTo>
                  <a:pt x="8826860" y="514359"/>
                </a:lnTo>
                <a:lnTo>
                  <a:pt x="28691" y="821598"/>
                </a:lnTo>
                <a:lnTo>
                  <a:pt x="8844" y="253241"/>
                </a:lnTo>
                <a:lnTo>
                  <a:pt x="8292744" y="0"/>
                </a:lnTo>
                <a:lnTo>
                  <a:pt x="0" y="0"/>
                </a:lnTo>
                <a:close/>
              </a:path>
            </a:pathLst>
          </a:custGeom>
          <a:solidFill>
            <a:schemeClr val="accent3">
              <a:lumMod val="20000"/>
              <a:lumOff val="80000"/>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8" name="Forma libre: forma 37">
            <a:extLst>
              <a:ext uri="{FF2B5EF4-FFF2-40B4-BE49-F238E27FC236}">
                <a16:creationId xmlns:a16="http://schemas.microsoft.com/office/drawing/2014/main" id="{FD1C8F31-B638-4D58-8796-826FB0893EF8}"/>
              </a:ext>
            </a:extLst>
          </p:cNvPr>
          <p:cNvSpPr/>
          <p:nvPr userDrawn="1"/>
        </p:nvSpPr>
        <p:spPr>
          <a:xfrm rot="10680000" flipH="1">
            <a:off x="-26293" y="-155366"/>
            <a:ext cx="8941223" cy="719153"/>
          </a:xfrm>
          <a:custGeom>
            <a:avLst/>
            <a:gdLst>
              <a:gd name="connsiteX0" fmla="*/ 4938008 w 8941223"/>
              <a:gd name="connsiteY0" fmla="*/ 0 h 719153"/>
              <a:gd name="connsiteX1" fmla="*/ 0 w 8941223"/>
              <a:gd name="connsiteY1" fmla="*/ 0 h 719153"/>
              <a:gd name="connsiteX2" fmla="*/ 5266 w 8941223"/>
              <a:gd name="connsiteY2" fmla="*/ 150795 h 719153"/>
              <a:gd name="connsiteX3" fmla="*/ 25113 w 8941223"/>
              <a:gd name="connsiteY3" fmla="*/ 719153 h 719153"/>
              <a:gd name="connsiteX4" fmla="*/ 8941223 w 8941223"/>
              <a:gd name="connsiteY4" fmla="*/ 407795 h 719153"/>
              <a:gd name="connsiteX5" fmla="*/ 8941223 w 8941223"/>
              <a:gd name="connsiteY5" fmla="*/ 407795 h 719153"/>
              <a:gd name="connsiteX6" fmla="*/ 25114 w 8941223"/>
              <a:gd name="connsiteY6" fmla="*/ 719152 h 719153"/>
              <a:gd name="connsiteX7" fmla="*/ 6637 w 8941223"/>
              <a:gd name="connsiteY7" fmla="*/ 190049 h 71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41223" h="719153">
                <a:moveTo>
                  <a:pt x="4938008" y="0"/>
                </a:moveTo>
                <a:lnTo>
                  <a:pt x="0" y="0"/>
                </a:lnTo>
                <a:lnTo>
                  <a:pt x="5266" y="150795"/>
                </a:lnTo>
                <a:close/>
                <a:moveTo>
                  <a:pt x="25113" y="719153"/>
                </a:moveTo>
                <a:lnTo>
                  <a:pt x="8941223" y="407795"/>
                </a:lnTo>
                <a:lnTo>
                  <a:pt x="8941223" y="407795"/>
                </a:lnTo>
                <a:lnTo>
                  <a:pt x="25114" y="719152"/>
                </a:lnTo>
                <a:lnTo>
                  <a:pt x="6637" y="190049"/>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39" name="Forma libre: forma 38">
            <a:extLst>
              <a:ext uri="{FF2B5EF4-FFF2-40B4-BE49-F238E27FC236}">
                <a16:creationId xmlns:a16="http://schemas.microsoft.com/office/drawing/2014/main" id="{B6F5AAA1-BF41-4371-8E80-30F5317E26FF}"/>
              </a:ext>
            </a:extLst>
          </p:cNvPr>
          <p:cNvSpPr/>
          <p:nvPr userDrawn="1"/>
        </p:nvSpPr>
        <p:spPr>
          <a:xfrm rot="10785060" flipH="1">
            <a:off x="-12299" y="-19580"/>
            <a:ext cx="9014457" cy="568698"/>
          </a:xfrm>
          <a:custGeom>
            <a:avLst/>
            <a:gdLst>
              <a:gd name="connsiteX0" fmla="*/ 2472 w 9014457"/>
              <a:gd name="connsiteY0" fmla="*/ 568698 h 568698"/>
              <a:gd name="connsiteX1" fmla="*/ 9014457 w 9014457"/>
              <a:gd name="connsiteY1" fmla="*/ 529533 h 568698"/>
              <a:gd name="connsiteX2" fmla="*/ 8927788 w 9014457"/>
              <a:gd name="connsiteY2" fmla="*/ 0 h 568698"/>
              <a:gd name="connsiteX3" fmla="*/ 0 w 9014457"/>
              <a:gd name="connsiteY3" fmla="*/ 0 h 568698"/>
            </a:gdLst>
            <a:ahLst/>
            <a:cxnLst>
              <a:cxn ang="0">
                <a:pos x="connsiteX0" y="connsiteY0"/>
              </a:cxn>
              <a:cxn ang="0">
                <a:pos x="connsiteX1" y="connsiteY1"/>
              </a:cxn>
              <a:cxn ang="0">
                <a:pos x="connsiteX2" y="connsiteY2"/>
              </a:cxn>
              <a:cxn ang="0">
                <a:pos x="connsiteX3" y="connsiteY3"/>
              </a:cxn>
            </a:cxnLst>
            <a:rect l="l" t="t" r="r" b="b"/>
            <a:pathLst>
              <a:path w="9014457" h="568698">
                <a:moveTo>
                  <a:pt x="2472" y="568698"/>
                </a:moveTo>
                <a:lnTo>
                  <a:pt x="9014457" y="529533"/>
                </a:lnTo>
                <a:lnTo>
                  <a:pt x="8927788" y="0"/>
                </a:lnTo>
                <a:lnTo>
                  <a:pt x="0" y="0"/>
                </a:lnTo>
                <a:close/>
              </a:path>
            </a:pathLst>
          </a:custGeom>
          <a:solidFill>
            <a:schemeClr val="tx2">
              <a:lumMod val="75000"/>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0" name="Forma libre: forma 39">
            <a:extLst>
              <a:ext uri="{FF2B5EF4-FFF2-40B4-BE49-F238E27FC236}">
                <a16:creationId xmlns:a16="http://schemas.microsoft.com/office/drawing/2014/main" id="{A256426E-39C1-480F-8893-51511B7F7BB6}"/>
              </a:ext>
            </a:extLst>
          </p:cNvPr>
          <p:cNvSpPr/>
          <p:nvPr userDrawn="1"/>
        </p:nvSpPr>
        <p:spPr>
          <a:xfrm rot="10785060" flipH="1">
            <a:off x="-11545" y="-19581"/>
            <a:ext cx="9013118" cy="299631"/>
          </a:xfrm>
          <a:custGeom>
            <a:avLst/>
            <a:gdLst>
              <a:gd name="connsiteX0" fmla="*/ 9013118 w 9013118"/>
              <a:gd name="connsiteY0" fmla="*/ 260466 h 299631"/>
              <a:gd name="connsiteX1" fmla="*/ 8970488 w 9013118"/>
              <a:gd name="connsiteY1" fmla="*/ 0 h 299631"/>
              <a:gd name="connsiteX2" fmla="*/ 0 w 9013118"/>
              <a:gd name="connsiteY2" fmla="*/ 38985 h 299631"/>
              <a:gd name="connsiteX3" fmla="*/ 1133 w 9013118"/>
              <a:gd name="connsiteY3" fmla="*/ 299631 h 299631"/>
            </a:gdLst>
            <a:ahLst/>
            <a:cxnLst>
              <a:cxn ang="0">
                <a:pos x="connsiteX0" y="connsiteY0"/>
              </a:cxn>
              <a:cxn ang="0">
                <a:pos x="connsiteX1" y="connsiteY1"/>
              </a:cxn>
              <a:cxn ang="0">
                <a:pos x="connsiteX2" y="connsiteY2"/>
              </a:cxn>
              <a:cxn ang="0">
                <a:pos x="connsiteX3" y="connsiteY3"/>
              </a:cxn>
            </a:cxnLst>
            <a:rect l="l" t="t" r="r" b="b"/>
            <a:pathLst>
              <a:path w="9013118" h="299631">
                <a:moveTo>
                  <a:pt x="9013118" y="260466"/>
                </a:moveTo>
                <a:lnTo>
                  <a:pt x="8970488" y="0"/>
                </a:lnTo>
                <a:lnTo>
                  <a:pt x="0" y="38985"/>
                </a:lnTo>
                <a:lnTo>
                  <a:pt x="1133" y="299631"/>
                </a:lnTo>
                <a:close/>
              </a:path>
            </a:pathLst>
          </a:custGeom>
          <a:solidFill>
            <a:schemeClr val="tx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41" name="Forma libre: forma 40">
            <a:extLst>
              <a:ext uri="{FF2B5EF4-FFF2-40B4-BE49-F238E27FC236}">
                <a16:creationId xmlns:a16="http://schemas.microsoft.com/office/drawing/2014/main" id="{2D43060D-A98B-464D-A050-76EB4A80CBC5}"/>
              </a:ext>
            </a:extLst>
          </p:cNvPr>
          <p:cNvSpPr/>
          <p:nvPr userDrawn="1"/>
        </p:nvSpPr>
        <p:spPr>
          <a:xfrm rot="17863205" flipH="1">
            <a:off x="7875333" y="-681248"/>
            <a:ext cx="1250632" cy="2102819"/>
          </a:xfrm>
          <a:custGeom>
            <a:avLst/>
            <a:gdLst>
              <a:gd name="connsiteX0" fmla="*/ 759637 w 1250632"/>
              <a:gd name="connsiteY0" fmla="*/ 0 h 2102819"/>
              <a:gd name="connsiteX1" fmla="*/ 0 w 1250632"/>
              <a:gd name="connsiteY1" fmla="*/ 1445663 h 2102819"/>
              <a:gd name="connsiteX2" fmla="*/ 1250632 w 1250632"/>
              <a:gd name="connsiteY2" fmla="*/ 2102819 h 2102819"/>
            </a:gdLst>
            <a:ahLst/>
            <a:cxnLst>
              <a:cxn ang="0">
                <a:pos x="connsiteX0" y="connsiteY0"/>
              </a:cxn>
              <a:cxn ang="0">
                <a:pos x="connsiteX1" y="connsiteY1"/>
              </a:cxn>
              <a:cxn ang="0">
                <a:pos x="connsiteX2" y="connsiteY2"/>
              </a:cxn>
            </a:cxnLst>
            <a:rect l="l" t="t" r="r" b="b"/>
            <a:pathLst>
              <a:path w="1250632" h="2102819">
                <a:moveTo>
                  <a:pt x="759637" y="0"/>
                </a:moveTo>
                <a:lnTo>
                  <a:pt x="0" y="1445663"/>
                </a:lnTo>
                <a:lnTo>
                  <a:pt x="1250632" y="2102819"/>
                </a:ln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s-ES"/>
          </a:p>
        </p:txBody>
      </p:sp>
      <p:sp>
        <p:nvSpPr>
          <p:cNvPr id="19" name="Título 1">
            <a:extLst>
              <a:ext uri="{FF2B5EF4-FFF2-40B4-BE49-F238E27FC236}">
                <a16:creationId xmlns:a16="http://schemas.microsoft.com/office/drawing/2014/main" id="{8E6A21A6-EB96-426D-9233-3E6A43A133E1}"/>
              </a:ext>
            </a:extLst>
          </p:cNvPr>
          <p:cNvSpPr>
            <a:spLocks noGrp="1"/>
          </p:cNvSpPr>
          <p:nvPr>
            <p:ph type="title" hasCustomPrompt="1"/>
          </p:nvPr>
        </p:nvSpPr>
        <p:spPr>
          <a:xfrm>
            <a:off x="59634" y="-274036"/>
            <a:ext cx="8865122" cy="1143000"/>
          </a:xfrm>
        </p:spPr>
        <p:txBody>
          <a:bodyPr>
            <a:normAutofit/>
          </a:bodyPr>
          <a:lstStyle>
            <a:lvl1pPr algn="l">
              <a:defRPr sz="2000" b="1">
                <a:solidFill>
                  <a:schemeClr val="bg1"/>
                </a:solidFill>
              </a:defRPr>
            </a:lvl1pPr>
          </a:lstStyle>
          <a:p>
            <a:r>
              <a:rPr lang="es-ES"/>
              <a:t>HAGA CLIC PARA MODIFICAR EL ESTILO DE TÍTULO DEL PATRÓN</a:t>
            </a:r>
          </a:p>
        </p:txBody>
      </p:sp>
      <p:sp>
        <p:nvSpPr>
          <p:cNvPr id="20" name="5 Marcador de número de diapositiva">
            <a:extLst>
              <a:ext uri="{FF2B5EF4-FFF2-40B4-BE49-F238E27FC236}">
                <a16:creationId xmlns:a16="http://schemas.microsoft.com/office/drawing/2014/main" id="{ACDDCC9B-ADD3-418D-B1D5-372168D1E008}"/>
              </a:ext>
            </a:extLst>
          </p:cNvPr>
          <p:cNvSpPr>
            <a:spLocks noGrp="1"/>
          </p:cNvSpPr>
          <p:nvPr>
            <p:ph type="sldNum" sz="quarter" idx="12"/>
          </p:nvPr>
        </p:nvSpPr>
        <p:spPr>
          <a:xfrm>
            <a:off x="6382139" y="6356353"/>
            <a:ext cx="2311400" cy="365125"/>
          </a:xfrm>
          <a:prstGeom prst="rect">
            <a:avLst/>
          </a:prstGeom>
        </p:spPr>
        <p:txBody>
          <a:bodyPr/>
          <a:lstStyle>
            <a:lvl1pPr algn="r">
              <a:defRPr sz="1200">
                <a:latin typeface="Arial" panose="020B0604020202020204" pitchFamily="34" charset="0"/>
                <a:cs typeface="Arial" panose="020B0604020202020204" pitchFamily="34" charset="0"/>
              </a:defRPr>
            </a:lvl1pPr>
          </a:lstStyle>
          <a:p>
            <a:fld id="{F72BFCD6-C37F-4D4F-B6AD-71D3A36D527F}" type="slidenum">
              <a:rPr lang="es-ES" smtClean="0"/>
              <a:pPr/>
              <a:t>‹Nº›</a:t>
            </a:fld>
            <a:endParaRPr lang="es-ES"/>
          </a:p>
        </p:txBody>
      </p:sp>
      <p:sp>
        <p:nvSpPr>
          <p:cNvPr id="22" name="Rectángulo 21">
            <a:extLst>
              <a:ext uri="{FF2B5EF4-FFF2-40B4-BE49-F238E27FC236}">
                <a16:creationId xmlns:a16="http://schemas.microsoft.com/office/drawing/2014/main" id="{07FBD02B-85F0-4864-AF40-693EC3D233EF}"/>
              </a:ext>
            </a:extLst>
          </p:cNvPr>
          <p:cNvSpPr/>
          <p:nvPr userDrawn="1"/>
        </p:nvSpPr>
        <p:spPr>
          <a:xfrm>
            <a:off x="1" y="6517050"/>
            <a:ext cx="1199456" cy="15369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800" b="1">
              <a:solidFill>
                <a:schemeClr val="bg1"/>
              </a:solidFill>
            </a:endParaRPr>
          </a:p>
        </p:txBody>
      </p:sp>
      <p:sp>
        <p:nvSpPr>
          <p:cNvPr id="23" name="CuadroTexto 22">
            <a:extLst>
              <a:ext uri="{FF2B5EF4-FFF2-40B4-BE49-F238E27FC236}">
                <a16:creationId xmlns:a16="http://schemas.microsoft.com/office/drawing/2014/main" id="{2E1FFA29-1301-4059-801B-D8109FAA0CBC}"/>
              </a:ext>
            </a:extLst>
          </p:cNvPr>
          <p:cNvSpPr txBox="1"/>
          <p:nvPr userDrawn="1"/>
        </p:nvSpPr>
        <p:spPr>
          <a:xfrm>
            <a:off x="0" y="6470785"/>
            <a:ext cx="1199458" cy="246221"/>
          </a:xfrm>
          <a:prstGeom prst="rect">
            <a:avLst/>
          </a:prstGeom>
          <a:noFill/>
        </p:spPr>
        <p:txBody>
          <a:bodyPr wrap="square" rtlCol="0">
            <a:spAutoFit/>
          </a:bodyPr>
          <a:lstStyle/>
          <a:p>
            <a:r>
              <a:rPr lang="es-ES" sz="1000" b="1">
                <a:solidFill>
                  <a:schemeClr val="bg1"/>
                </a:solidFill>
              </a:rPr>
              <a:t>TLP: AMBER</a:t>
            </a:r>
          </a:p>
        </p:txBody>
      </p:sp>
      <p:pic>
        <p:nvPicPr>
          <p:cNvPr id="16" name="Imagen 15">
            <a:extLst>
              <a:ext uri="{FF2B5EF4-FFF2-40B4-BE49-F238E27FC236}">
                <a16:creationId xmlns:a16="http://schemas.microsoft.com/office/drawing/2014/main" id="{83A34AC7-DBAC-42AD-934A-8CE4D861C70C}"/>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3511224" y="6466607"/>
            <a:ext cx="2121552" cy="303078"/>
          </a:xfrm>
          <a:prstGeom prst="rect">
            <a:avLst/>
          </a:prstGeom>
        </p:spPr>
      </p:pic>
    </p:spTree>
    <p:extLst>
      <p:ext uri="{BB962C8B-B14F-4D97-AF65-F5344CB8AC3E}">
        <p14:creationId xmlns:p14="http://schemas.microsoft.com/office/powerpoint/2010/main" val="18210533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image" Target="../media/image1.e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oleObject" Target="../embeddings/oleObject17.bin"/><Relationship Id="rId2" Type="http://schemas.openxmlformats.org/officeDocument/2006/relationships/slideLayout" Target="../slideLayouts/slideLayout20.xml"/><Relationship Id="rId16" Type="http://schemas.openxmlformats.org/officeDocument/2006/relationships/tags" Target="../tags/tag25.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tags" Target="../tags/tag24.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F5E6567F-0C9E-42E7-BABA-57C9D2BA5D8F}"/>
              </a:ext>
            </a:extLst>
          </p:cNvPr>
          <p:cNvGraphicFramePr>
            <a:graphicFrameLocks noChangeAspect="1"/>
          </p:cNvGraphicFramePr>
          <p:nvPr userDrawn="1">
            <p:custDataLst>
              <p:tags r:id="rId20"/>
            </p:custDataLst>
            <p:extLst>
              <p:ext uri="{D42A27DB-BD31-4B8C-83A1-F6EECF244321}">
                <p14:modId xmlns:p14="http://schemas.microsoft.com/office/powerpoint/2010/main" val="4076092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22" imgW="395" imgH="394" progId="TCLayout.ActiveDocument.1">
                  <p:embed/>
                </p:oleObj>
              </mc:Choice>
              <mc:Fallback>
                <p:oleObj name="Diapositiva de think-cell" r:id="rId22" imgW="395" imgH="394" progId="TCLayout.ActiveDocument.1">
                  <p:embed/>
                  <p:pic>
                    <p:nvPicPr>
                      <p:cNvPr id="10" name="Objeto 9" hidden="1">
                        <a:extLst>
                          <a:ext uri="{FF2B5EF4-FFF2-40B4-BE49-F238E27FC236}">
                            <a16:creationId xmlns:a16="http://schemas.microsoft.com/office/drawing/2014/main" id="{F5E6567F-0C9E-42E7-BABA-57C9D2BA5D8F}"/>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9" name="Rectángulo 8" hidden="1">
            <a:extLst>
              <a:ext uri="{FF2B5EF4-FFF2-40B4-BE49-F238E27FC236}">
                <a16:creationId xmlns:a16="http://schemas.microsoft.com/office/drawing/2014/main" id="{0B5F7854-A00E-4016-B4D9-6304EBD6AAC5}"/>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3300" b="0" i="0" baseline="0">
              <a:latin typeface="Calibri" panose="020F0502020204030204" pitchFamily="34" charset="0"/>
              <a:ea typeface="+mj-ea"/>
              <a:cs typeface="+mj-cs"/>
              <a:sym typeface="Calibri" panose="020F0502020204030204" pitchFamily="34" charset="0"/>
            </a:endParaRPr>
          </a:p>
        </p:txBody>
      </p:sp>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2 Marcador de texto"/>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2"/>
          </p:nvPr>
        </p:nvSpPr>
        <p:spPr>
          <a:xfrm>
            <a:off x="457200" y="6356357"/>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s-ES"/>
          </a:p>
        </p:txBody>
      </p:sp>
      <p:sp>
        <p:nvSpPr>
          <p:cNvPr id="5" name="4 Marcador de pie de página"/>
          <p:cNvSpPr>
            <a:spLocks noGrp="1"/>
          </p:cNvSpPr>
          <p:nvPr>
            <p:ph type="ftr" sz="quarter" idx="3"/>
          </p:nvPr>
        </p:nvSpPr>
        <p:spPr>
          <a:xfrm>
            <a:off x="3124200" y="6356357"/>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s-ES"/>
          </a:p>
        </p:txBody>
      </p:sp>
      <p:sp>
        <p:nvSpPr>
          <p:cNvPr id="6" name="5 Marcador de número de diapositiva"/>
          <p:cNvSpPr>
            <a:spLocks noGrp="1"/>
          </p:cNvSpPr>
          <p:nvPr>
            <p:ph type="sldNum" sz="quarter" idx="4"/>
          </p:nvPr>
        </p:nvSpPr>
        <p:spPr>
          <a:xfrm>
            <a:off x="6553200" y="6356357"/>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72BFCD6-C37F-4D4F-B6AD-71D3A36D527F}" type="slidenum">
              <a:rPr lang="es-ES" smtClean="0"/>
              <a:pPr/>
              <a:t>‹Nº›</a:t>
            </a:fld>
            <a:endParaRPr lang="es-ES"/>
          </a:p>
        </p:txBody>
      </p:sp>
    </p:spTree>
    <p:extLst>
      <p:ext uri="{BB962C8B-B14F-4D97-AF65-F5344CB8AC3E}">
        <p14:creationId xmlns:p14="http://schemas.microsoft.com/office/powerpoint/2010/main" val="3026860636"/>
      </p:ext>
    </p:extLst>
  </p:cSld>
  <p:clrMap bg1="lt1" tx1="dk1" bg2="lt2" tx2="dk2" accent1="accent1" accent2="accent2" accent3="accent3" accent4="accent4" accent5="accent5" accent6="accent6" hlink="hlink" folHlink="folHlink"/>
  <p:sldLayoutIdLst>
    <p:sldLayoutId id="2147483711" r:id="rId1"/>
    <p:sldLayoutId id="2147483722" r:id="rId2"/>
    <p:sldLayoutId id="2147483723" r:id="rId3"/>
    <p:sldLayoutId id="2147483712" r:id="rId4"/>
    <p:sldLayoutId id="2147483724" r:id="rId5"/>
    <p:sldLayoutId id="2147483725" r:id="rId6"/>
    <p:sldLayoutId id="2147483721" r:id="rId7"/>
    <p:sldLayoutId id="2147483726" r:id="rId8"/>
    <p:sldLayoutId id="2147483727" r:id="rId9"/>
    <p:sldLayoutId id="2147483728" r:id="rId10"/>
    <p:sldLayoutId id="2147483729" r:id="rId11"/>
    <p:sldLayoutId id="2147483731" r:id="rId12"/>
    <p:sldLayoutId id="2147483732" r:id="rId13"/>
    <p:sldLayoutId id="2147483734" r:id="rId14"/>
    <p:sldLayoutId id="2147483750" r:id="rId15"/>
    <p:sldLayoutId id="2147483751" r:id="rId16"/>
    <p:sldLayoutId id="2147483752" r:id="rId17"/>
    <p:sldLayoutId id="2147483753" r:id="rId18"/>
  </p:sldLayoutIdLst>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s-E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F5E6567F-0C9E-42E7-BABA-57C9D2BA5D8F}"/>
              </a:ext>
            </a:extLst>
          </p:cNvPr>
          <p:cNvGraphicFramePr>
            <a:graphicFrameLocks noChangeAspect="1"/>
          </p:cNvGraphicFramePr>
          <p:nvPr userDrawn="1">
            <p:custDataLst>
              <p:tags r:id="rId15"/>
            </p:custDataLst>
            <p:extLst>
              <p:ext uri="{D42A27DB-BD31-4B8C-83A1-F6EECF244321}">
                <p14:modId xmlns:p14="http://schemas.microsoft.com/office/powerpoint/2010/main" val="3592520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7" imgW="395" imgH="394" progId="TCLayout.ActiveDocument.1">
                  <p:embed/>
                </p:oleObj>
              </mc:Choice>
              <mc:Fallback>
                <p:oleObj name="Diapositiva de think-cell" r:id="rId17" imgW="395" imgH="394" progId="TCLayout.ActiveDocument.1">
                  <p:embed/>
                  <p:pic>
                    <p:nvPicPr>
                      <p:cNvPr id="10" name="Objeto 9" hidden="1">
                        <a:extLst>
                          <a:ext uri="{FF2B5EF4-FFF2-40B4-BE49-F238E27FC236}">
                            <a16:creationId xmlns:a16="http://schemas.microsoft.com/office/drawing/2014/main" id="{F5E6567F-0C9E-42E7-BABA-57C9D2BA5D8F}"/>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9" name="Rectángulo 8" hidden="1">
            <a:extLst>
              <a:ext uri="{FF2B5EF4-FFF2-40B4-BE49-F238E27FC236}">
                <a16:creationId xmlns:a16="http://schemas.microsoft.com/office/drawing/2014/main" id="{0B5F7854-A00E-4016-B4D9-6304EBD6AAC5}"/>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3300" b="0" i="0" baseline="0">
              <a:latin typeface="Calibri" panose="020F0502020204030204" pitchFamily="34" charset="0"/>
              <a:ea typeface="+mj-ea"/>
              <a:cs typeface="+mj-cs"/>
              <a:sym typeface="Calibri" panose="020F0502020204030204" pitchFamily="34" charset="0"/>
            </a:endParaRPr>
          </a:p>
        </p:txBody>
      </p:sp>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2 Marcador de texto"/>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2"/>
          </p:nvPr>
        </p:nvSpPr>
        <p:spPr>
          <a:xfrm>
            <a:off x="457200" y="6356357"/>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s-ES"/>
          </a:p>
        </p:txBody>
      </p:sp>
      <p:sp>
        <p:nvSpPr>
          <p:cNvPr id="5" name="4 Marcador de pie de página"/>
          <p:cNvSpPr>
            <a:spLocks noGrp="1"/>
          </p:cNvSpPr>
          <p:nvPr>
            <p:ph type="ftr" sz="quarter" idx="3"/>
          </p:nvPr>
        </p:nvSpPr>
        <p:spPr>
          <a:xfrm>
            <a:off x="3124200" y="6356357"/>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s-ES"/>
          </a:p>
        </p:txBody>
      </p:sp>
      <p:sp>
        <p:nvSpPr>
          <p:cNvPr id="6" name="5 Marcador de número de diapositiva"/>
          <p:cNvSpPr>
            <a:spLocks noGrp="1"/>
          </p:cNvSpPr>
          <p:nvPr>
            <p:ph type="sldNum" sz="quarter" idx="4"/>
          </p:nvPr>
        </p:nvSpPr>
        <p:spPr>
          <a:xfrm>
            <a:off x="6553200" y="6356357"/>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F72BFCD6-C37F-4D4F-B6AD-71D3A36D527F}" type="slidenum">
              <a:rPr lang="es-ES" smtClean="0"/>
              <a:pPr/>
              <a:t>‹Nº›</a:t>
            </a:fld>
            <a:endParaRPr lang="es-ES"/>
          </a:p>
        </p:txBody>
      </p:sp>
    </p:spTree>
    <p:extLst>
      <p:ext uri="{BB962C8B-B14F-4D97-AF65-F5344CB8AC3E}">
        <p14:creationId xmlns:p14="http://schemas.microsoft.com/office/powerpoint/2010/main" val="2494037674"/>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Lst>
  <p:hf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s-E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3.xml"/><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3.emf"/><Relationship Id="rId11" Type="http://schemas.openxmlformats.org/officeDocument/2006/relationships/image" Target="../media/image18.png"/><Relationship Id="rId5" Type="http://schemas.openxmlformats.org/officeDocument/2006/relationships/oleObject" Target="../embeddings/oleObject30.bin"/><Relationship Id="rId10" Type="http://schemas.openxmlformats.org/officeDocument/2006/relationships/image" Target="../media/image17.png"/><Relationship Id="rId4" Type="http://schemas.openxmlformats.org/officeDocument/2006/relationships/notesSlide" Target="../notesSlides/notesSlide2.xml"/><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17.xml"/><Relationship Id="rId1" Type="http://schemas.openxmlformats.org/officeDocument/2006/relationships/tags" Target="../tags/tag43.xml"/><Relationship Id="rId6" Type="http://schemas.openxmlformats.org/officeDocument/2006/relationships/image" Target="../media/image19.png"/><Relationship Id="rId5" Type="http://schemas.openxmlformats.org/officeDocument/2006/relationships/image" Target="../media/image20.jpeg"/><Relationship Id="rId4" Type="http://schemas.openxmlformats.org/officeDocument/2006/relationships/image" Target="../media/image13.emf"/></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3.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oleObject" Target="../embeddings/oleObject32.bin"/><Relationship Id="rId5" Type="http://schemas.openxmlformats.org/officeDocument/2006/relationships/image" Target="../media/image21.jpeg"/><Relationship Id="rId10" Type="http://schemas.openxmlformats.org/officeDocument/2006/relationships/image" Target="../media/image24.svg"/><Relationship Id="rId4" Type="http://schemas.openxmlformats.org/officeDocument/2006/relationships/notesSlide" Target="../notesSlides/notesSlide3.xml"/><Relationship Id="rId9"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4.xml"/><Relationship Id="rId7" Type="http://schemas.openxmlformats.org/officeDocument/2006/relationships/image" Target="../media/image28.svg"/><Relationship Id="rId2" Type="http://schemas.openxmlformats.org/officeDocument/2006/relationships/slideLayout" Target="../slideLayouts/slideLayout7.xml"/><Relationship Id="rId1" Type="http://schemas.openxmlformats.org/officeDocument/2006/relationships/themeOverride" Target="../theme/themeOverride1.xml"/><Relationship Id="rId6" Type="http://schemas.openxmlformats.org/officeDocument/2006/relationships/image" Target="../media/image27.png"/><Relationship Id="rId5" Type="http://schemas.openxmlformats.org/officeDocument/2006/relationships/image" Target="../media/image26.emf"/><Relationship Id="rId10" Type="http://schemas.openxmlformats.org/officeDocument/2006/relationships/image" Target="../media/image31.svg"/><Relationship Id="rId4" Type="http://schemas.openxmlformats.org/officeDocument/2006/relationships/image" Target="../media/image25.emf"/><Relationship Id="rId9" Type="http://schemas.openxmlformats.org/officeDocument/2006/relationships/image" Target="../media/image30.png"/></Relationships>
</file>

<file path=ppt/slides/_rels/slide7.xml.rels><?xml version="1.0" encoding="UTF-8" standalone="yes"?>
<Relationships xmlns="http://schemas.openxmlformats.org/package/2006/relationships"><Relationship Id="rId13" Type="http://schemas.openxmlformats.org/officeDocument/2006/relationships/image" Target="../media/image38.svg"/><Relationship Id="rId18" Type="http://schemas.openxmlformats.org/officeDocument/2006/relationships/image" Target="../media/image43.png"/><Relationship Id="rId26" Type="http://schemas.openxmlformats.org/officeDocument/2006/relationships/image" Target="../media/image51.png"/><Relationship Id="rId39" Type="http://schemas.openxmlformats.org/officeDocument/2006/relationships/image" Target="../media/image64.svg"/><Relationship Id="rId21" Type="http://schemas.openxmlformats.org/officeDocument/2006/relationships/image" Target="../media/image46.svg"/><Relationship Id="rId34" Type="http://schemas.openxmlformats.org/officeDocument/2006/relationships/image" Target="../media/image59.png"/><Relationship Id="rId42" Type="http://schemas.openxmlformats.org/officeDocument/2006/relationships/image" Target="../media/image67.png"/><Relationship Id="rId7" Type="http://schemas.openxmlformats.org/officeDocument/2006/relationships/image" Target="../media/image32.png"/><Relationship Id="rId2" Type="http://schemas.openxmlformats.org/officeDocument/2006/relationships/tags" Target="../tags/tag47.xml"/><Relationship Id="rId16" Type="http://schemas.openxmlformats.org/officeDocument/2006/relationships/image" Target="../media/image41.png"/><Relationship Id="rId29" Type="http://schemas.openxmlformats.org/officeDocument/2006/relationships/image" Target="../media/image54.svg"/><Relationship Id="rId1" Type="http://schemas.openxmlformats.org/officeDocument/2006/relationships/tags" Target="../tags/tag46.xml"/><Relationship Id="rId6" Type="http://schemas.openxmlformats.org/officeDocument/2006/relationships/image" Target="../media/image13.emf"/><Relationship Id="rId11" Type="http://schemas.openxmlformats.org/officeDocument/2006/relationships/image" Target="../media/image36.png"/><Relationship Id="rId24" Type="http://schemas.openxmlformats.org/officeDocument/2006/relationships/image" Target="../media/image49.png"/><Relationship Id="rId32" Type="http://schemas.openxmlformats.org/officeDocument/2006/relationships/image" Target="../media/image57.png"/><Relationship Id="rId37" Type="http://schemas.openxmlformats.org/officeDocument/2006/relationships/image" Target="../media/image62.svg"/><Relationship Id="rId40" Type="http://schemas.openxmlformats.org/officeDocument/2006/relationships/image" Target="../media/image65.png"/><Relationship Id="rId45" Type="http://schemas.openxmlformats.org/officeDocument/2006/relationships/image" Target="../media/image70.svg"/><Relationship Id="rId5" Type="http://schemas.openxmlformats.org/officeDocument/2006/relationships/oleObject" Target="../embeddings/oleObject33.bin"/><Relationship Id="rId15" Type="http://schemas.openxmlformats.org/officeDocument/2006/relationships/image" Target="../media/image40.png"/><Relationship Id="rId23" Type="http://schemas.openxmlformats.org/officeDocument/2006/relationships/image" Target="../media/image48.svg"/><Relationship Id="rId28" Type="http://schemas.openxmlformats.org/officeDocument/2006/relationships/image" Target="../media/image53.png"/><Relationship Id="rId36" Type="http://schemas.openxmlformats.org/officeDocument/2006/relationships/image" Target="../media/image61.png"/><Relationship Id="rId10" Type="http://schemas.openxmlformats.org/officeDocument/2006/relationships/image" Target="../media/image35.png"/><Relationship Id="rId19" Type="http://schemas.openxmlformats.org/officeDocument/2006/relationships/image" Target="../media/image44.svg"/><Relationship Id="rId31" Type="http://schemas.openxmlformats.org/officeDocument/2006/relationships/image" Target="../media/image56.svg"/><Relationship Id="rId44" Type="http://schemas.openxmlformats.org/officeDocument/2006/relationships/image" Target="../media/image69.png"/><Relationship Id="rId4" Type="http://schemas.openxmlformats.org/officeDocument/2006/relationships/notesSlide" Target="../notesSlides/notesSlide5.xml"/><Relationship Id="rId9" Type="http://schemas.openxmlformats.org/officeDocument/2006/relationships/image" Target="../media/image34.png"/><Relationship Id="rId14" Type="http://schemas.openxmlformats.org/officeDocument/2006/relationships/image" Target="../media/image39.png"/><Relationship Id="rId22" Type="http://schemas.openxmlformats.org/officeDocument/2006/relationships/image" Target="../media/image47.png"/><Relationship Id="rId27" Type="http://schemas.openxmlformats.org/officeDocument/2006/relationships/image" Target="../media/image52.svg"/><Relationship Id="rId30" Type="http://schemas.openxmlformats.org/officeDocument/2006/relationships/image" Target="../media/image55.png"/><Relationship Id="rId35" Type="http://schemas.openxmlformats.org/officeDocument/2006/relationships/image" Target="../media/image60.svg"/><Relationship Id="rId43" Type="http://schemas.openxmlformats.org/officeDocument/2006/relationships/image" Target="../media/image68.svg"/><Relationship Id="rId8" Type="http://schemas.openxmlformats.org/officeDocument/2006/relationships/image" Target="../media/image33.png"/><Relationship Id="rId3" Type="http://schemas.openxmlformats.org/officeDocument/2006/relationships/slideLayout" Target="../slideLayouts/slideLayout13.xml"/><Relationship Id="rId12" Type="http://schemas.openxmlformats.org/officeDocument/2006/relationships/image" Target="../media/image37.png"/><Relationship Id="rId17" Type="http://schemas.openxmlformats.org/officeDocument/2006/relationships/image" Target="../media/image42.svg"/><Relationship Id="rId25" Type="http://schemas.openxmlformats.org/officeDocument/2006/relationships/image" Target="../media/image50.svg"/><Relationship Id="rId33" Type="http://schemas.openxmlformats.org/officeDocument/2006/relationships/image" Target="../media/image58.svg"/><Relationship Id="rId38" Type="http://schemas.openxmlformats.org/officeDocument/2006/relationships/image" Target="../media/image63.png"/><Relationship Id="rId46" Type="http://schemas.openxmlformats.org/officeDocument/2006/relationships/image" Target="../media/image19.png"/><Relationship Id="rId20" Type="http://schemas.openxmlformats.org/officeDocument/2006/relationships/image" Target="../media/image45.png"/><Relationship Id="rId41" Type="http://schemas.openxmlformats.org/officeDocument/2006/relationships/image" Target="../media/image66.svg"/></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76.png"/><Relationship Id="rId18" Type="http://schemas.openxmlformats.org/officeDocument/2006/relationships/image" Target="../media/image81.svg"/><Relationship Id="rId3" Type="http://schemas.openxmlformats.org/officeDocument/2006/relationships/slideLayout" Target="../slideLayouts/slideLayout14.xml"/><Relationship Id="rId21" Type="http://schemas.openxmlformats.org/officeDocument/2006/relationships/image" Target="../media/image84.png"/><Relationship Id="rId7" Type="http://schemas.openxmlformats.org/officeDocument/2006/relationships/image" Target="../media/image71.jpeg"/><Relationship Id="rId12" Type="http://schemas.openxmlformats.org/officeDocument/2006/relationships/image" Target="../media/image75.svg"/><Relationship Id="rId17" Type="http://schemas.openxmlformats.org/officeDocument/2006/relationships/image" Target="../media/image80.png"/><Relationship Id="rId2" Type="http://schemas.openxmlformats.org/officeDocument/2006/relationships/tags" Target="../tags/tag49.xml"/><Relationship Id="rId16" Type="http://schemas.openxmlformats.org/officeDocument/2006/relationships/image" Target="../media/image79.svg"/><Relationship Id="rId20" Type="http://schemas.openxmlformats.org/officeDocument/2006/relationships/image" Target="../media/image83.svg"/><Relationship Id="rId1" Type="http://schemas.openxmlformats.org/officeDocument/2006/relationships/tags" Target="../tags/tag48.xml"/><Relationship Id="rId6" Type="http://schemas.openxmlformats.org/officeDocument/2006/relationships/image" Target="../media/image13.emf"/><Relationship Id="rId11" Type="http://schemas.openxmlformats.org/officeDocument/2006/relationships/image" Target="../media/image74.png"/><Relationship Id="rId24" Type="http://schemas.openxmlformats.org/officeDocument/2006/relationships/image" Target="../media/image87.svg"/><Relationship Id="rId5" Type="http://schemas.openxmlformats.org/officeDocument/2006/relationships/oleObject" Target="../embeddings/oleObject34.bin"/><Relationship Id="rId15" Type="http://schemas.openxmlformats.org/officeDocument/2006/relationships/image" Target="../media/image78.png"/><Relationship Id="rId23" Type="http://schemas.openxmlformats.org/officeDocument/2006/relationships/image" Target="../media/image86.png"/><Relationship Id="rId10" Type="http://schemas.openxmlformats.org/officeDocument/2006/relationships/image" Target="../media/image73.svg"/><Relationship Id="rId19" Type="http://schemas.openxmlformats.org/officeDocument/2006/relationships/image" Target="../media/image82.png"/><Relationship Id="rId4" Type="http://schemas.openxmlformats.org/officeDocument/2006/relationships/notesSlide" Target="../notesSlides/notesSlide6.xml"/><Relationship Id="rId9" Type="http://schemas.openxmlformats.org/officeDocument/2006/relationships/image" Target="../media/image72.png"/><Relationship Id="rId14" Type="http://schemas.openxmlformats.org/officeDocument/2006/relationships/image" Target="../media/image77.svg"/><Relationship Id="rId22" Type="http://schemas.openxmlformats.org/officeDocument/2006/relationships/image" Target="../media/image85.svg"/></Relationships>
</file>

<file path=ppt/slides/_rels/slide9.xml.rels><?xml version="1.0" encoding="UTF-8" standalone="yes"?>
<Relationships xmlns="http://schemas.openxmlformats.org/package/2006/relationships"><Relationship Id="rId8" Type="http://schemas.openxmlformats.org/officeDocument/2006/relationships/image" Target="../media/image89.svg"/><Relationship Id="rId3" Type="http://schemas.openxmlformats.org/officeDocument/2006/relationships/slideLayout" Target="../slideLayouts/slideLayout13.xml"/><Relationship Id="rId7" Type="http://schemas.openxmlformats.org/officeDocument/2006/relationships/image" Target="../media/image88.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3.emf"/><Relationship Id="rId5" Type="http://schemas.openxmlformats.org/officeDocument/2006/relationships/oleObject" Target="../embeddings/oleObject35.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5">
            <a:extLst>
              <a:ext uri="{FF2B5EF4-FFF2-40B4-BE49-F238E27FC236}">
                <a16:creationId xmlns:a16="http://schemas.microsoft.com/office/drawing/2014/main" id="{63B1E9FD-41C0-453E-B7B1-BEB2D2FD6C8F}"/>
              </a:ext>
            </a:extLst>
          </p:cNvPr>
          <p:cNvSpPr>
            <a:spLocks noGrp="1"/>
          </p:cNvSpPr>
          <p:nvPr>
            <p:ph type="body" sz="quarter" idx="11"/>
          </p:nvPr>
        </p:nvSpPr>
        <p:spPr>
          <a:xfrm>
            <a:off x="326142" y="5104519"/>
            <a:ext cx="3597786" cy="576709"/>
          </a:xfrm>
        </p:spPr>
        <p:txBody>
          <a:bodyPr>
            <a:normAutofit/>
          </a:bodyPr>
          <a:lstStyle/>
          <a:p>
            <a:r>
              <a:rPr lang="es-ES" sz="1400"/>
              <a:t>Dirección General de Transformación Digital de la Administración de Justicia (DGTDAJ)</a:t>
            </a:r>
          </a:p>
        </p:txBody>
      </p:sp>
      <p:sp>
        <p:nvSpPr>
          <p:cNvPr id="7" name="Marcador de texto 6">
            <a:extLst>
              <a:ext uri="{FF2B5EF4-FFF2-40B4-BE49-F238E27FC236}">
                <a16:creationId xmlns:a16="http://schemas.microsoft.com/office/drawing/2014/main" id="{224895E3-4C6F-4B58-8488-092C3F735336}"/>
              </a:ext>
            </a:extLst>
          </p:cNvPr>
          <p:cNvSpPr>
            <a:spLocks noGrp="1"/>
          </p:cNvSpPr>
          <p:nvPr>
            <p:ph type="body" sz="quarter" idx="12"/>
          </p:nvPr>
        </p:nvSpPr>
        <p:spPr>
          <a:xfrm>
            <a:off x="326142" y="5675254"/>
            <a:ext cx="4763468" cy="432742"/>
          </a:xfrm>
        </p:spPr>
        <p:txBody>
          <a:bodyPr>
            <a:normAutofit/>
          </a:bodyPr>
          <a:lstStyle/>
          <a:p>
            <a:r>
              <a:rPr lang="es-ES" sz="1200" dirty="0"/>
              <a:t>Abril 2022</a:t>
            </a:r>
          </a:p>
        </p:txBody>
      </p:sp>
      <p:sp>
        <p:nvSpPr>
          <p:cNvPr id="8" name="Marcador de texto 7">
            <a:extLst>
              <a:ext uri="{FF2B5EF4-FFF2-40B4-BE49-F238E27FC236}">
                <a16:creationId xmlns:a16="http://schemas.microsoft.com/office/drawing/2014/main" id="{D369191F-A459-4E53-AEBD-447878A7D588}"/>
              </a:ext>
            </a:extLst>
          </p:cNvPr>
          <p:cNvSpPr>
            <a:spLocks noGrp="1"/>
          </p:cNvSpPr>
          <p:nvPr>
            <p:ph type="body" sz="quarter" idx="13"/>
          </p:nvPr>
        </p:nvSpPr>
        <p:spPr>
          <a:xfrm>
            <a:off x="326142" y="3501009"/>
            <a:ext cx="5884158" cy="1152128"/>
          </a:xfrm>
        </p:spPr>
        <p:txBody>
          <a:bodyPr>
            <a:normAutofit/>
          </a:bodyPr>
          <a:lstStyle/>
          <a:p>
            <a:r>
              <a:rPr lang="es-ES" sz="3200"/>
              <a:t>Puesto de Trabajo Deslocalizado</a:t>
            </a:r>
          </a:p>
        </p:txBody>
      </p:sp>
      <p:sp>
        <p:nvSpPr>
          <p:cNvPr id="5" name="Marcador de número de diapositiva 4">
            <a:extLst>
              <a:ext uri="{FF2B5EF4-FFF2-40B4-BE49-F238E27FC236}">
                <a16:creationId xmlns:a16="http://schemas.microsoft.com/office/drawing/2014/main" id="{47A56F95-B232-43EF-8C5B-37AB6BFCDAA7}"/>
              </a:ext>
            </a:extLst>
          </p:cNvPr>
          <p:cNvSpPr>
            <a:spLocks noGrp="1"/>
          </p:cNvSpPr>
          <p:nvPr>
            <p:ph type="sldNum" sz="quarter" idx="4294967295"/>
          </p:nvPr>
        </p:nvSpPr>
        <p:spPr>
          <a:xfrm>
            <a:off x="6832600" y="6356350"/>
            <a:ext cx="2311400" cy="365125"/>
          </a:xfrm>
        </p:spPr>
        <p:txBody>
          <a:bodyPr/>
          <a:lstStyle/>
          <a:p>
            <a:fld id="{F72BFCD6-C37F-4D4F-B6AD-71D3A36D527F}" type="slidenum">
              <a:rPr lang="es-ES" smtClean="0"/>
              <a:pPr/>
              <a:t>1</a:t>
            </a:fld>
            <a:endParaRPr lang="es-ES"/>
          </a:p>
        </p:txBody>
      </p:sp>
      <p:sp>
        <p:nvSpPr>
          <p:cNvPr id="10" name="Marcador de texto 5">
            <a:extLst>
              <a:ext uri="{FF2B5EF4-FFF2-40B4-BE49-F238E27FC236}">
                <a16:creationId xmlns:a16="http://schemas.microsoft.com/office/drawing/2014/main" id="{0AA3A22E-D89B-4294-9E0E-C2E274D2AE43}"/>
              </a:ext>
            </a:extLst>
          </p:cNvPr>
          <p:cNvSpPr txBox="1">
            <a:spLocks/>
          </p:cNvSpPr>
          <p:nvPr/>
        </p:nvSpPr>
        <p:spPr>
          <a:xfrm>
            <a:off x="326142" y="4725144"/>
            <a:ext cx="4763604" cy="576709"/>
          </a:xfrm>
          <a:prstGeom prst="rect">
            <a:avLst/>
          </a:prstGeom>
        </p:spPr>
        <p:txBody>
          <a:bodyPr vert="horz" lIns="91440" tIns="45720" rIns="91440" bIns="45720" rtlCol="0">
            <a:normAutofit/>
          </a:bodyPr>
          <a:lstStyle>
            <a:lvl1pPr marL="0" indent="0" algn="l" defTabSz="685800" rtl="0" eaLnBrk="1" latinLnBrk="0" hangingPunct="1">
              <a:spcBef>
                <a:spcPct val="20000"/>
              </a:spcBef>
              <a:buFont typeface="Arial" pitchFamily="34" charset="0"/>
              <a:buNone/>
              <a:defRPr sz="1800" kern="1200">
                <a:solidFill>
                  <a:schemeClr val="bg1"/>
                </a:solidFill>
                <a:latin typeface="Calibri" panose="020F0502020204030204" pitchFamily="34" charset="0"/>
                <a:ea typeface="+mn-ea"/>
                <a:cs typeface="Calibri" panose="020F0502020204030204" pitchFamily="34" charset="0"/>
              </a:defRPr>
            </a:lvl1pPr>
            <a:lvl2pPr marL="342900" indent="0" algn="r" defTabSz="685800" rtl="0" eaLnBrk="1" latinLnBrk="0" hangingPunct="1">
              <a:spcBef>
                <a:spcPct val="20000"/>
              </a:spcBef>
              <a:buFont typeface="Arial" pitchFamily="34" charset="0"/>
              <a:buNone/>
              <a:defRPr sz="2100" kern="1200">
                <a:solidFill>
                  <a:schemeClr val="tx1"/>
                </a:solidFill>
                <a:latin typeface="+mn-lt"/>
                <a:ea typeface="+mn-ea"/>
                <a:cs typeface="+mn-cs"/>
              </a:defRPr>
            </a:lvl2pPr>
            <a:lvl3pPr marL="685800" indent="0" algn="r" defTabSz="685800" rtl="0" eaLnBrk="1" latinLnBrk="0" hangingPunct="1">
              <a:spcBef>
                <a:spcPct val="20000"/>
              </a:spcBef>
              <a:buFont typeface="Arial" pitchFamily="34" charset="0"/>
              <a:buNone/>
              <a:defRPr sz="1800" kern="1200">
                <a:solidFill>
                  <a:schemeClr val="tx1"/>
                </a:solidFill>
                <a:latin typeface="+mn-lt"/>
                <a:ea typeface="+mn-ea"/>
                <a:cs typeface="+mn-cs"/>
              </a:defRPr>
            </a:lvl3pPr>
            <a:lvl4pPr marL="1028700" indent="0" algn="r" defTabSz="685800" rtl="0" eaLnBrk="1" latinLnBrk="0" hangingPunct="1">
              <a:spcBef>
                <a:spcPct val="20000"/>
              </a:spcBef>
              <a:buFont typeface="Arial" pitchFamily="34" charset="0"/>
              <a:buNone/>
              <a:defRPr sz="1500" kern="1200">
                <a:solidFill>
                  <a:schemeClr val="tx1"/>
                </a:solidFill>
                <a:latin typeface="+mn-lt"/>
                <a:ea typeface="+mn-ea"/>
                <a:cs typeface="+mn-cs"/>
              </a:defRPr>
            </a:lvl4pPr>
            <a:lvl5pPr marL="1371600" indent="0" algn="r" defTabSz="685800" rtl="0" eaLnBrk="1" latinLnBrk="0" hangingPunct="1">
              <a:spcBef>
                <a:spcPct val="20000"/>
              </a:spcBef>
              <a:buFont typeface="Arial" pitchFamily="34" charset="0"/>
              <a:buNone/>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endParaRPr lang="es-ES" b="1" dirty="0"/>
          </a:p>
        </p:txBody>
      </p:sp>
      <p:sp>
        <p:nvSpPr>
          <p:cNvPr id="9" name="CuadroTexto 8">
            <a:extLst>
              <a:ext uri="{FF2B5EF4-FFF2-40B4-BE49-F238E27FC236}">
                <a16:creationId xmlns:a16="http://schemas.microsoft.com/office/drawing/2014/main" id="{9DFA988F-8270-49CA-A870-E190DE996D13}"/>
              </a:ext>
            </a:extLst>
          </p:cNvPr>
          <p:cNvSpPr txBox="1"/>
          <p:nvPr/>
        </p:nvSpPr>
        <p:spPr>
          <a:xfrm>
            <a:off x="395073" y="4151688"/>
            <a:ext cx="5325140" cy="400110"/>
          </a:xfrm>
          <a:prstGeom prst="rect">
            <a:avLst/>
          </a:prstGeom>
          <a:noFill/>
        </p:spPr>
        <p:txBody>
          <a:bodyPr wrap="square">
            <a:spAutoFit/>
          </a:bodyPr>
          <a:lstStyle/>
          <a:p>
            <a:r>
              <a:rPr lang="es-ES" sz="2000" dirty="0">
                <a:solidFill>
                  <a:schemeClr val="bg1"/>
                </a:solidFill>
              </a:rPr>
              <a:t>Foro de Transformación Digital de la Justicia</a:t>
            </a:r>
          </a:p>
        </p:txBody>
      </p:sp>
      <p:sp>
        <p:nvSpPr>
          <p:cNvPr id="2" name="Rectángulo 1">
            <a:extLst>
              <a:ext uri="{FF2B5EF4-FFF2-40B4-BE49-F238E27FC236}">
                <a16:creationId xmlns:a16="http://schemas.microsoft.com/office/drawing/2014/main" id="{9B79A67C-32D4-448C-9862-34A417CBBB5D}"/>
              </a:ext>
            </a:extLst>
          </p:cNvPr>
          <p:cNvSpPr/>
          <p:nvPr/>
        </p:nvSpPr>
        <p:spPr>
          <a:xfrm>
            <a:off x="0" y="6481397"/>
            <a:ext cx="1304925" cy="2400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4261197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Marcador de texto">
            <a:extLst>
              <a:ext uri="{FF2B5EF4-FFF2-40B4-BE49-F238E27FC236}">
                <a16:creationId xmlns:a16="http://schemas.microsoft.com/office/drawing/2014/main" id="{D77EB1B5-E57D-4AED-829B-7FD7BAC2C7B0}"/>
              </a:ext>
            </a:extLst>
          </p:cNvPr>
          <p:cNvSpPr txBox="1">
            <a:spLocks/>
          </p:cNvSpPr>
          <p:nvPr/>
        </p:nvSpPr>
        <p:spPr>
          <a:xfrm>
            <a:off x="1682272" y="2425403"/>
            <a:ext cx="5779453" cy="2337474"/>
          </a:xfrm>
          <a:prstGeom prst="rect">
            <a:avLst/>
          </a:prstGeom>
        </p:spPr>
        <p:txBody>
          <a:bodyPr vert="horz" lIns="68580" tIns="34290" rIns="68580" bIns="34290" rtlCol="0">
            <a:normAutofit fontScale="55000" lnSpcReduction="20000"/>
          </a:bodyPr>
          <a:lstStyle>
            <a:lvl1pPr marL="0" indent="0" algn="l" defTabSz="914400" rtl="0" eaLnBrk="1" latinLnBrk="0" hangingPunct="1">
              <a:spcBef>
                <a:spcPct val="20000"/>
              </a:spcBef>
              <a:buFont typeface="Arial" pitchFamily="34" charset="0"/>
              <a:buNone/>
              <a:defRPr sz="4000" kern="1200">
                <a:solidFill>
                  <a:schemeClr val="accent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Ø"/>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Courier New" pitchFamily="49" charset="0"/>
              <a:buChar char="o"/>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defRPr/>
            </a:pPr>
            <a:r>
              <a:rPr lang="es-ES" sz="6000" b="1" dirty="0">
                <a:latin typeface="+mj-lt"/>
                <a:cs typeface="Arial" panose="020B0604020202020204" pitchFamily="34" charset="0"/>
              </a:rPr>
              <a:t>¿Cómo es la experiencia de usuario?</a:t>
            </a:r>
          </a:p>
          <a:p>
            <a:pPr algn="ctr">
              <a:spcBef>
                <a:spcPts val="0"/>
              </a:spcBef>
              <a:defRPr/>
            </a:pPr>
            <a:endParaRPr lang="es-ES" sz="6000" b="1" dirty="0">
              <a:solidFill>
                <a:schemeClr val="bg1"/>
              </a:solidFill>
              <a:latin typeface="+mj-lt"/>
              <a:cs typeface="Arial" panose="020B0604020202020204" pitchFamily="34" charset="0"/>
            </a:endParaRPr>
          </a:p>
          <a:p>
            <a:pPr algn="ctr">
              <a:spcBef>
                <a:spcPts val="0"/>
              </a:spcBef>
              <a:defRPr/>
            </a:pPr>
            <a:r>
              <a:rPr lang="es-ES" sz="9000" b="1" i="1" dirty="0">
                <a:solidFill>
                  <a:schemeClr val="bg1"/>
                </a:solidFill>
                <a:latin typeface="+mj-lt"/>
                <a:cs typeface="Arial" panose="020B0604020202020204" pitchFamily="34" charset="0"/>
              </a:rPr>
              <a:t>Javier L. Parra García</a:t>
            </a:r>
          </a:p>
        </p:txBody>
      </p:sp>
      <p:pic>
        <p:nvPicPr>
          <p:cNvPr id="6" name="Imagen 5">
            <a:extLst>
              <a:ext uri="{FF2B5EF4-FFF2-40B4-BE49-F238E27FC236}">
                <a16:creationId xmlns:a16="http://schemas.microsoft.com/office/drawing/2014/main" id="{AC72BF72-6EE6-49BF-B03D-E74AE0C347BF}"/>
              </a:ext>
            </a:extLst>
          </p:cNvPr>
          <p:cNvPicPr>
            <a:picLocks noChangeAspect="1"/>
          </p:cNvPicPr>
          <p:nvPr/>
        </p:nvPicPr>
        <p:blipFill>
          <a:blip r:embed="rId3"/>
          <a:stretch>
            <a:fillRect/>
          </a:stretch>
        </p:blipFill>
        <p:spPr>
          <a:xfrm>
            <a:off x="-7937" y="822449"/>
            <a:ext cx="9159873" cy="580818"/>
          </a:xfrm>
          <a:prstGeom prst="rect">
            <a:avLst/>
          </a:prstGeom>
        </p:spPr>
      </p:pic>
      <p:sp>
        <p:nvSpPr>
          <p:cNvPr id="4" name="3 Marcador de texto">
            <a:extLst>
              <a:ext uri="{FF2B5EF4-FFF2-40B4-BE49-F238E27FC236}">
                <a16:creationId xmlns:a16="http://schemas.microsoft.com/office/drawing/2014/main" id="{7894FB38-F62C-49A2-8996-8B16E047090F}"/>
              </a:ext>
            </a:extLst>
          </p:cNvPr>
          <p:cNvSpPr txBox="1">
            <a:spLocks/>
          </p:cNvSpPr>
          <p:nvPr/>
        </p:nvSpPr>
        <p:spPr>
          <a:xfrm>
            <a:off x="-217504" y="4396093"/>
            <a:ext cx="9579004" cy="733568"/>
          </a:xfrm>
          <a:prstGeom prst="rect">
            <a:avLst/>
          </a:prstGeom>
        </p:spPr>
        <p:txBody>
          <a:bodyPr vert="horz" lIns="68580" tIns="34290" rIns="68580" bIns="34290" rtlCol="0">
            <a:normAutofit/>
          </a:bodyPr>
          <a:lstStyle>
            <a:lvl1pPr marL="0" indent="0" algn="l" defTabSz="914400" rtl="0" eaLnBrk="1" latinLnBrk="0" hangingPunct="1">
              <a:spcBef>
                <a:spcPct val="20000"/>
              </a:spcBef>
              <a:buFont typeface="Arial" pitchFamily="34" charset="0"/>
              <a:buNone/>
              <a:defRPr sz="4000" kern="1200">
                <a:solidFill>
                  <a:schemeClr val="accent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Ø"/>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Courier New" pitchFamily="49" charset="0"/>
              <a:buChar char="o"/>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0"/>
              </a:spcBef>
              <a:defRPr/>
            </a:pPr>
            <a:r>
              <a:rPr lang="es-ES" sz="2000" b="1" i="1" dirty="0">
                <a:solidFill>
                  <a:schemeClr val="bg1"/>
                </a:solidFill>
                <a:latin typeface="+mj-lt"/>
                <a:cs typeface="Arial" panose="020B0604020202020204" pitchFamily="34" charset="0"/>
              </a:rPr>
              <a:t>Secretario de Gobierno Tribunal Superior de Justicia de Murcia</a:t>
            </a:r>
          </a:p>
        </p:txBody>
      </p:sp>
      <p:pic>
        <p:nvPicPr>
          <p:cNvPr id="5" name="Imagen 4">
            <a:extLst>
              <a:ext uri="{FF2B5EF4-FFF2-40B4-BE49-F238E27FC236}">
                <a16:creationId xmlns:a16="http://schemas.microsoft.com/office/drawing/2014/main" id="{3ED2603C-7215-44F2-B37B-C6AC20091504}"/>
              </a:ext>
            </a:extLst>
          </p:cNvPr>
          <p:cNvPicPr/>
          <p:nvPr/>
        </p:nvPicPr>
        <p:blipFill>
          <a:blip r:embed="rId4"/>
          <a:stretch>
            <a:fillRect/>
          </a:stretch>
        </p:blipFill>
        <p:spPr>
          <a:xfrm>
            <a:off x="2909629" y="6060978"/>
            <a:ext cx="3102532" cy="561411"/>
          </a:xfrm>
          <a:prstGeom prst="rect">
            <a:avLst/>
          </a:prstGeom>
        </p:spPr>
      </p:pic>
    </p:spTree>
    <p:extLst>
      <p:ext uri="{BB962C8B-B14F-4D97-AF65-F5344CB8AC3E}">
        <p14:creationId xmlns:p14="http://schemas.microsoft.com/office/powerpoint/2010/main" val="40675777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3 Marcador de texto">
            <a:extLst>
              <a:ext uri="{FF2B5EF4-FFF2-40B4-BE49-F238E27FC236}">
                <a16:creationId xmlns:a16="http://schemas.microsoft.com/office/drawing/2014/main" id="{D77EB1B5-E57D-4AED-829B-7FD7BAC2C7B0}"/>
              </a:ext>
            </a:extLst>
          </p:cNvPr>
          <p:cNvSpPr txBox="1">
            <a:spLocks/>
          </p:cNvSpPr>
          <p:nvPr/>
        </p:nvSpPr>
        <p:spPr>
          <a:xfrm>
            <a:off x="1089660" y="1371734"/>
            <a:ext cx="5208984" cy="3642464"/>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4000" kern="1200">
                <a:solidFill>
                  <a:schemeClr val="accent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Ø"/>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Courier New" pitchFamily="49" charset="0"/>
              <a:buChar char="o"/>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ts val="7000"/>
              </a:lnSpc>
              <a:spcBef>
                <a:spcPct val="20000"/>
              </a:spcBef>
              <a:spcAft>
                <a:spcPts val="0"/>
              </a:spcAft>
              <a:buClrTx/>
              <a:buSzTx/>
              <a:buFont typeface="Arial" pitchFamily="34" charset="0"/>
              <a:buNone/>
              <a:tabLst/>
              <a:defRPr/>
            </a:pPr>
            <a:r>
              <a:rPr kumimoji="0" lang="es-ES" sz="7200" b="1" i="0" u="none" strike="noStrike" kern="1200" cap="none" spc="0" normalizeH="0" baseline="0" noProof="0">
                <a:ln>
                  <a:noFill/>
                </a:ln>
                <a:solidFill>
                  <a:srgbClr val="FFFFFF"/>
                </a:solidFill>
                <a:effectLst/>
                <a:uLnTx/>
                <a:uFillTx/>
                <a:latin typeface="Calibri" panose="020F0502020204030204"/>
                <a:ea typeface="+mn-ea"/>
                <a:cs typeface="Arial" panose="020B0604020202020204" pitchFamily="34" charset="0"/>
              </a:rPr>
              <a:t>Gracias por su atención</a:t>
            </a:r>
          </a:p>
        </p:txBody>
      </p:sp>
      <p:pic>
        <p:nvPicPr>
          <p:cNvPr id="6" name="Imagen 5">
            <a:extLst>
              <a:ext uri="{FF2B5EF4-FFF2-40B4-BE49-F238E27FC236}">
                <a16:creationId xmlns:a16="http://schemas.microsoft.com/office/drawing/2014/main" id="{CB33854E-AC07-44E1-AF47-CF66A1AA84B1}"/>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2591326" y="5900729"/>
            <a:ext cx="3961349" cy="565906"/>
          </a:xfrm>
          <a:prstGeom prst="rect">
            <a:avLst/>
          </a:prstGeom>
        </p:spPr>
      </p:pic>
    </p:spTree>
    <p:extLst>
      <p:ext uri="{BB962C8B-B14F-4D97-AF65-F5344CB8AC3E}">
        <p14:creationId xmlns:p14="http://schemas.microsoft.com/office/powerpoint/2010/main" val="20934131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87FFC7BE-0DD7-4ADF-9423-C8C0F030B3FE}"/>
              </a:ext>
            </a:extLst>
          </p:cNvPr>
          <p:cNvPicPr>
            <a:picLocks noChangeAspect="1"/>
          </p:cNvPicPr>
          <p:nvPr/>
        </p:nvPicPr>
        <p:blipFill>
          <a:blip r:embed="rId2"/>
          <a:stretch>
            <a:fillRect/>
          </a:stretch>
        </p:blipFill>
        <p:spPr>
          <a:xfrm>
            <a:off x="450461" y="1808108"/>
            <a:ext cx="8121865" cy="4548245"/>
          </a:xfrm>
          <a:prstGeom prst="rect">
            <a:avLst/>
          </a:prstGeom>
          <a:noFill/>
        </p:spPr>
      </p:pic>
      <p:sp>
        <p:nvSpPr>
          <p:cNvPr id="5" name="Marcador de número de diapositiva 4">
            <a:extLst>
              <a:ext uri="{FF2B5EF4-FFF2-40B4-BE49-F238E27FC236}">
                <a16:creationId xmlns:a16="http://schemas.microsoft.com/office/drawing/2014/main" id="{2AA60244-A7FC-4209-913C-930B7E816D6A}"/>
              </a:ext>
            </a:extLst>
          </p:cNvPr>
          <p:cNvSpPr>
            <a:spLocks noGrp="1"/>
          </p:cNvSpPr>
          <p:nvPr>
            <p:ph type="sldNum" sz="quarter" idx="12"/>
          </p:nvPr>
        </p:nvSpPr>
        <p:spPr/>
        <p:txBody>
          <a:bodyPr anchor="ctr">
            <a:normAutofit/>
          </a:bodyPr>
          <a:lstStyle/>
          <a:p>
            <a:pPr>
              <a:spcAft>
                <a:spcPts val="600"/>
              </a:spcAft>
            </a:pPr>
            <a:fld id="{F72BFCD6-C37F-4D4F-B6AD-71D3A36D527F}" type="slidenum">
              <a:rPr lang="es-ES" smtClean="0"/>
              <a:pPr>
                <a:spcAft>
                  <a:spcPts val="600"/>
                </a:spcAft>
              </a:pPr>
              <a:t>2</a:t>
            </a:fld>
            <a:endParaRPr lang="es-ES"/>
          </a:p>
        </p:txBody>
      </p:sp>
      <p:sp>
        <p:nvSpPr>
          <p:cNvPr id="15" name="Marcador de contenido 10">
            <a:extLst>
              <a:ext uri="{FF2B5EF4-FFF2-40B4-BE49-F238E27FC236}">
                <a16:creationId xmlns:a16="http://schemas.microsoft.com/office/drawing/2014/main" id="{1C585A71-852B-4B69-B56B-1E9EBE859C9C}"/>
              </a:ext>
            </a:extLst>
          </p:cNvPr>
          <p:cNvSpPr txBox="1">
            <a:spLocks/>
          </p:cNvSpPr>
          <p:nvPr/>
        </p:nvSpPr>
        <p:spPr>
          <a:xfrm>
            <a:off x="351620" y="840214"/>
            <a:ext cx="8335179" cy="923330"/>
          </a:xfrm>
          <a:prstGeom prst="rect">
            <a:avLst/>
          </a:prstGeom>
          <a:noFill/>
        </p:spPr>
        <p:txBody>
          <a:bodyPr vert="horz" wrap="square" lIns="91440" tIns="45720" rIns="91440" bIns="45720" rtlCol="0">
            <a:spAutoFit/>
          </a:bodyPr>
          <a:lstStyle>
            <a:lvl1pPr indent="-257175" algn="just">
              <a:spcBef>
                <a:spcPts val="600"/>
              </a:spcBef>
              <a:spcAft>
                <a:spcPts val="600"/>
              </a:spcAft>
              <a:buFont typeface="Arial" pitchFamily="34" charset="0"/>
              <a:buNone/>
              <a:defRPr i="1">
                <a:solidFill>
                  <a:srgbClr val="002060"/>
                </a:solidFill>
                <a:latin typeface="+mj-lt"/>
              </a:defRPr>
            </a:lvl1pPr>
            <a:lvl2pPr marL="557213" indent="-214313" defTabSz="685800">
              <a:spcBef>
                <a:spcPct val="20000"/>
              </a:spcBef>
              <a:buFont typeface="Arial" pitchFamily="34" charset="0"/>
              <a:buNone/>
              <a:defRPr sz="1400">
                <a:latin typeface="Calibri" panose="020F0502020204030204" pitchFamily="34" charset="0"/>
                <a:cs typeface="Calibri" panose="020F0502020204030204" pitchFamily="34" charset="0"/>
              </a:defRPr>
            </a:lvl2pPr>
            <a:lvl3pPr marL="857250" indent="-171450" defTabSz="685800">
              <a:spcBef>
                <a:spcPct val="20000"/>
              </a:spcBef>
              <a:buFont typeface="Arial" pitchFamily="34" charset="0"/>
              <a:buChar char="•"/>
              <a:defRPr sz="1400">
                <a:latin typeface="Calibri" panose="020F0502020204030204" pitchFamily="34" charset="0"/>
                <a:cs typeface="Calibri" panose="020F0502020204030204" pitchFamily="34" charset="0"/>
              </a:defRPr>
            </a:lvl3pPr>
            <a:lvl4pPr marL="1200150" indent="-171450" defTabSz="685800">
              <a:spcBef>
                <a:spcPct val="20000"/>
              </a:spcBef>
              <a:buFont typeface="Arial" pitchFamily="34" charset="0"/>
              <a:buChar char="–"/>
              <a:defRPr sz="1400">
                <a:latin typeface="Calibri" panose="020F0502020204030204" pitchFamily="34" charset="0"/>
                <a:cs typeface="Calibri" panose="020F0502020204030204" pitchFamily="34" charset="0"/>
              </a:defRPr>
            </a:lvl4pPr>
            <a:lvl5pPr marL="1543050" indent="-171450" defTabSz="685800">
              <a:spcBef>
                <a:spcPct val="20000"/>
              </a:spcBef>
              <a:buFont typeface="Arial" pitchFamily="34" charset="0"/>
              <a:buChar char="»"/>
              <a:defRPr sz="1400">
                <a:latin typeface="Calibri" panose="020F0502020204030204" pitchFamily="34" charset="0"/>
                <a:cs typeface="Calibri" panose="020F0502020204030204" pitchFamily="34" charset="0"/>
              </a:defRPr>
            </a:lvl5pPr>
            <a:lvl6pPr marL="1885950" indent="-171450" defTabSz="685800">
              <a:spcBef>
                <a:spcPct val="20000"/>
              </a:spcBef>
              <a:buFont typeface="Arial" pitchFamily="34" charset="0"/>
              <a:buChar char="•"/>
              <a:defRPr sz="1500"/>
            </a:lvl6pPr>
            <a:lvl7pPr marL="2228850" indent="-171450" defTabSz="685800">
              <a:spcBef>
                <a:spcPct val="20000"/>
              </a:spcBef>
              <a:buFont typeface="Arial" pitchFamily="34" charset="0"/>
              <a:buChar char="•"/>
              <a:defRPr sz="1500"/>
            </a:lvl7pPr>
            <a:lvl8pPr marL="2571750" indent="-171450" defTabSz="685800">
              <a:spcBef>
                <a:spcPct val="20000"/>
              </a:spcBef>
              <a:buFont typeface="Arial" pitchFamily="34" charset="0"/>
              <a:buChar char="•"/>
              <a:defRPr sz="1500"/>
            </a:lvl8pPr>
            <a:lvl9pPr marL="2914650" indent="-171450" defTabSz="685800">
              <a:spcBef>
                <a:spcPct val="20000"/>
              </a:spcBef>
              <a:buFont typeface="Arial" pitchFamily="34" charset="0"/>
              <a:buChar char="•"/>
              <a:defRPr sz="1500"/>
            </a:lvl9pPr>
          </a:lstStyle>
          <a:p>
            <a:r>
              <a:rPr lang="es-ES" dirty="0"/>
              <a:t>El puesto de trabajo deslocalizado se ha erigido como la clave para que, en medio de una pandemia mundial, la Administración de Justicia en España haya podido continuar funcionando.</a:t>
            </a:r>
          </a:p>
        </p:txBody>
      </p:sp>
    </p:spTree>
    <p:extLst>
      <p:ext uri="{BB962C8B-B14F-4D97-AF65-F5344CB8AC3E}">
        <p14:creationId xmlns:p14="http://schemas.microsoft.com/office/powerpoint/2010/main" val="14433511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665B547-BAA5-470B-8A52-5C58FDEE66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95" imgH="396" progId="TCLayout.ActiveDocument.1">
                  <p:embed/>
                </p:oleObj>
              </mc:Choice>
              <mc:Fallback>
                <p:oleObj name="Diapositiva de think-cell" r:id="rId5" imgW="395" imgH="396" progId="TCLayout.ActiveDocument.1">
                  <p:embed/>
                  <p:pic>
                    <p:nvPicPr>
                      <p:cNvPr id="6" name="Objeto 5" hidden="1">
                        <a:extLst>
                          <a:ext uri="{FF2B5EF4-FFF2-40B4-BE49-F238E27FC236}">
                            <a16:creationId xmlns:a16="http://schemas.microsoft.com/office/drawing/2014/main" id="{5665B547-BAA5-470B-8A52-5C58FDEE66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0DE3542-0992-4930-9939-79EC6E02AEC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0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96" name="CuadroTexto 95">
            <a:extLst>
              <a:ext uri="{FF2B5EF4-FFF2-40B4-BE49-F238E27FC236}">
                <a16:creationId xmlns:a16="http://schemas.microsoft.com/office/drawing/2014/main" id="{0ACF6B6C-4241-43BD-AC24-539594ED2643}"/>
              </a:ext>
            </a:extLst>
          </p:cNvPr>
          <p:cNvSpPr txBox="1"/>
          <p:nvPr/>
        </p:nvSpPr>
        <p:spPr>
          <a:xfrm>
            <a:off x="166227" y="1479822"/>
            <a:ext cx="8752231" cy="738664"/>
          </a:xfrm>
          <a:prstGeom prst="rect">
            <a:avLst/>
          </a:prstGeom>
          <a:noFill/>
        </p:spPr>
        <p:txBody>
          <a:bodyPr wrap="square" rtlCol="0" anchor="t">
            <a:spAutoFit/>
          </a:bodyPr>
          <a:lstStyle/>
          <a:p>
            <a:pPr algn="just"/>
            <a:r>
              <a:rPr lang="es-ES" sz="1400" dirty="0">
                <a:solidFill>
                  <a:srgbClr val="4E4E4E"/>
                </a:solidFill>
                <a:latin typeface="+mj-lt"/>
                <a:ea typeface="+mn-lt"/>
                <a:cs typeface="Arial"/>
              </a:rPr>
              <a:t>El Ministerio de Justicia, tras la declaración del primer Estado de Alarma (marzo 2020), puso en marcha un Plan de Contingencia frente al COVID-19 que permitió dar una respuesta rápida, ágil y eficiente para el funcionamiento de los servicios digitales de Administración de Justicia</a:t>
            </a:r>
          </a:p>
        </p:txBody>
      </p:sp>
      <p:sp>
        <p:nvSpPr>
          <p:cNvPr id="97" name="Rectángulo 96">
            <a:extLst>
              <a:ext uri="{FF2B5EF4-FFF2-40B4-BE49-F238E27FC236}">
                <a16:creationId xmlns:a16="http://schemas.microsoft.com/office/drawing/2014/main" id="{B1FADCB5-BB7D-4701-93ED-B057E8A0250E}"/>
              </a:ext>
            </a:extLst>
          </p:cNvPr>
          <p:cNvSpPr/>
          <p:nvPr/>
        </p:nvSpPr>
        <p:spPr>
          <a:xfrm>
            <a:off x="278550" y="2495899"/>
            <a:ext cx="8639908" cy="309988"/>
          </a:xfrm>
          <a:prstGeom prst="rect">
            <a:avLst/>
          </a:prstGeom>
          <a:solidFill>
            <a:srgbClr val="043A6C"/>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FFFFFF"/>
              </a:solidFill>
              <a:effectLst/>
              <a:uLnTx/>
              <a:uFillTx/>
              <a:latin typeface="+mj-lt"/>
              <a:ea typeface="+mn-ea"/>
              <a:cs typeface="+mn-cs"/>
            </a:endParaRPr>
          </a:p>
        </p:txBody>
      </p:sp>
      <p:sp>
        <p:nvSpPr>
          <p:cNvPr id="98" name="1 Título">
            <a:extLst>
              <a:ext uri="{FF2B5EF4-FFF2-40B4-BE49-F238E27FC236}">
                <a16:creationId xmlns:a16="http://schemas.microsoft.com/office/drawing/2014/main" id="{B0348DCE-AA5A-4187-858C-482C5C4D21E9}"/>
              </a:ext>
            </a:extLst>
          </p:cNvPr>
          <p:cNvSpPr txBox="1">
            <a:spLocks/>
          </p:cNvSpPr>
          <p:nvPr/>
        </p:nvSpPr>
        <p:spPr>
          <a:xfrm>
            <a:off x="2050077" y="2455824"/>
            <a:ext cx="6011713" cy="326624"/>
          </a:xfrm>
          <a:prstGeom prst="rect">
            <a:avLst/>
          </a:prstGeom>
        </p:spPr>
        <p:txBody>
          <a:bodyPr/>
          <a:lstStyle>
            <a:lvl1pPr algn="ctr" defTabSz="914423" rtl="0" eaLnBrk="1" latinLnBrk="0" hangingPunct="1">
              <a:spcBef>
                <a:spcPct val="0"/>
              </a:spcBef>
              <a:buNone/>
              <a:defRPr sz="4401" kern="1200">
                <a:solidFill>
                  <a:schemeClr val="tx1"/>
                </a:solidFill>
                <a:latin typeface="+mj-lt"/>
                <a:ea typeface="+mj-ea"/>
                <a:cs typeface="+mj-cs"/>
              </a:defRPr>
            </a:lvl1pPr>
          </a:lstStyle>
          <a:p>
            <a:r>
              <a:rPr lang="es-ES" sz="1846" spc="554">
                <a:solidFill>
                  <a:srgbClr val="FFFFFF"/>
                </a:solidFill>
              </a:rPr>
              <a:t>PLAN DE </a:t>
            </a:r>
            <a:r>
              <a:rPr lang="es-ES" sz="1846" b="1" spc="277">
                <a:solidFill>
                  <a:srgbClr val="FFFFFF"/>
                </a:solidFill>
              </a:rPr>
              <a:t>TELETRABAJO </a:t>
            </a:r>
            <a:r>
              <a:rPr lang="es-ES" sz="1662" i="1">
                <a:solidFill>
                  <a:srgbClr val="FFFFFF"/>
                </a:solidFill>
              </a:rPr>
              <a:t>sustentado por cuatro líneas: </a:t>
            </a:r>
            <a:endParaRPr lang="es-ES" sz="3692" i="1">
              <a:solidFill>
                <a:srgbClr val="FFFFFF"/>
              </a:solidFill>
              <a:cs typeface="Arial" panose="020B0604020202020204" pitchFamily="34" charset="0"/>
            </a:endParaRPr>
          </a:p>
        </p:txBody>
      </p:sp>
      <p:sp>
        <p:nvSpPr>
          <p:cNvPr id="99" name="Rectángulo 98">
            <a:extLst>
              <a:ext uri="{FF2B5EF4-FFF2-40B4-BE49-F238E27FC236}">
                <a16:creationId xmlns:a16="http://schemas.microsoft.com/office/drawing/2014/main" id="{5FFEF26F-A0F6-4B2C-BF59-50CED94C3680}"/>
              </a:ext>
            </a:extLst>
          </p:cNvPr>
          <p:cNvSpPr/>
          <p:nvPr/>
        </p:nvSpPr>
        <p:spPr>
          <a:xfrm>
            <a:off x="311006" y="3021794"/>
            <a:ext cx="1831004" cy="379352"/>
          </a:xfrm>
          <a:prstGeom prst="rect">
            <a:avLst/>
          </a:prstGeom>
          <a:solidFill>
            <a:srgbClr val="FF9F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FFFFFF"/>
              </a:solidFill>
              <a:effectLst/>
              <a:uLnTx/>
              <a:uFillTx/>
              <a:latin typeface="+mj-lt"/>
              <a:ea typeface="+mn-ea"/>
              <a:cs typeface="+mn-cs"/>
            </a:endParaRPr>
          </a:p>
        </p:txBody>
      </p:sp>
      <p:sp>
        <p:nvSpPr>
          <p:cNvPr id="100" name="Rectángulo 99">
            <a:extLst>
              <a:ext uri="{FF2B5EF4-FFF2-40B4-BE49-F238E27FC236}">
                <a16:creationId xmlns:a16="http://schemas.microsoft.com/office/drawing/2014/main" id="{937D4B55-1FB6-4D2A-A779-A45C2D047154}"/>
              </a:ext>
            </a:extLst>
          </p:cNvPr>
          <p:cNvSpPr/>
          <p:nvPr/>
        </p:nvSpPr>
        <p:spPr>
          <a:xfrm>
            <a:off x="2397632" y="3032868"/>
            <a:ext cx="1831004" cy="379352"/>
          </a:xfrm>
          <a:prstGeom prst="rect">
            <a:avLst/>
          </a:prstGeom>
          <a:solidFill>
            <a:srgbClr val="FF2719">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FFFFFF"/>
              </a:solidFill>
              <a:effectLst/>
              <a:uLnTx/>
              <a:uFillTx/>
              <a:latin typeface="+mj-lt"/>
              <a:ea typeface="+mn-ea"/>
              <a:cs typeface="+mn-cs"/>
            </a:endParaRPr>
          </a:p>
        </p:txBody>
      </p:sp>
      <p:sp>
        <p:nvSpPr>
          <p:cNvPr id="101" name="Rectángulo 100">
            <a:extLst>
              <a:ext uri="{FF2B5EF4-FFF2-40B4-BE49-F238E27FC236}">
                <a16:creationId xmlns:a16="http://schemas.microsoft.com/office/drawing/2014/main" id="{95B6B3B2-74FF-4D42-9CB0-473090E0E3C8}"/>
              </a:ext>
            </a:extLst>
          </p:cNvPr>
          <p:cNvSpPr/>
          <p:nvPr/>
        </p:nvSpPr>
        <p:spPr>
          <a:xfrm>
            <a:off x="4529480" y="3032746"/>
            <a:ext cx="1831004" cy="379352"/>
          </a:xfrm>
          <a:prstGeom prst="rect">
            <a:avLst/>
          </a:prstGeom>
          <a:solidFill>
            <a:srgbClr val="3582C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FFFFFF"/>
              </a:solidFill>
              <a:effectLst/>
              <a:uLnTx/>
              <a:uFillTx/>
              <a:latin typeface="+mj-lt"/>
              <a:ea typeface="+mn-ea"/>
              <a:cs typeface="+mn-cs"/>
            </a:endParaRPr>
          </a:p>
        </p:txBody>
      </p:sp>
      <p:sp>
        <p:nvSpPr>
          <p:cNvPr id="102" name="Rectángulo 101">
            <a:extLst>
              <a:ext uri="{FF2B5EF4-FFF2-40B4-BE49-F238E27FC236}">
                <a16:creationId xmlns:a16="http://schemas.microsoft.com/office/drawing/2014/main" id="{B0FB3D99-8CFF-420F-8339-B7A0DF2BECAF}"/>
              </a:ext>
            </a:extLst>
          </p:cNvPr>
          <p:cNvSpPr/>
          <p:nvPr/>
        </p:nvSpPr>
        <p:spPr>
          <a:xfrm>
            <a:off x="6709886" y="3032135"/>
            <a:ext cx="1831004" cy="379352"/>
          </a:xfrm>
          <a:prstGeom prst="rect">
            <a:avLst/>
          </a:prstGeom>
          <a:solidFill>
            <a:srgbClr val="3EAB22">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FFFFFF"/>
              </a:solidFill>
              <a:effectLst/>
              <a:uLnTx/>
              <a:uFillTx/>
              <a:latin typeface="+mj-lt"/>
              <a:ea typeface="+mn-ea"/>
              <a:cs typeface="+mn-cs"/>
            </a:endParaRPr>
          </a:p>
        </p:txBody>
      </p:sp>
      <p:sp>
        <p:nvSpPr>
          <p:cNvPr id="103" name="Elipse 102">
            <a:extLst>
              <a:ext uri="{FF2B5EF4-FFF2-40B4-BE49-F238E27FC236}">
                <a16:creationId xmlns:a16="http://schemas.microsoft.com/office/drawing/2014/main" id="{04C4A929-AC02-4A7D-9A79-8A2B5571EE53}"/>
              </a:ext>
            </a:extLst>
          </p:cNvPr>
          <p:cNvSpPr/>
          <p:nvPr/>
        </p:nvSpPr>
        <p:spPr>
          <a:xfrm>
            <a:off x="2265494" y="3006542"/>
            <a:ext cx="432000" cy="432000"/>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FFFFFF"/>
              </a:solidFill>
              <a:effectLst/>
              <a:uLnTx/>
              <a:uFillTx/>
              <a:latin typeface="+mj-lt"/>
              <a:ea typeface="+mn-ea"/>
              <a:cs typeface="+mn-cs"/>
            </a:endParaRPr>
          </a:p>
        </p:txBody>
      </p:sp>
      <p:sp>
        <p:nvSpPr>
          <p:cNvPr id="104" name="Elipse 103">
            <a:extLst>
              <a:ext uri="{FF2B5EF4-FFF2-40B4-BE49-F238E27FC236}">
                <a16:creationId xmlns:a16="http://schemas.microsoft.com/office/drawing/2014/main" id="{AD1C5E87-B59E-4931-A60C-E70AD4189F15}"/>
              </a:ext>
            </a:extLst>
          </p:cNvPr>
          <p:cNvSpPr/>
          <p:nvPr/>
        </p:nvSpPr>
        <p:spPr>
          <a:xfrm>
            <a:off x="4371990" y="3021795"/>
            <a:ext cx="432000" cy="432000"/>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FFFFFF"/>
              </a:solidFill>
              <a:effectLst/>
              <a:uLnTx/>
              <a:uFillTx/>
              <a:latin typeface="+mj-lt"/>
              <a:ea typeface="+mn-ea"/>
              <a:cs typeface="+mn-cs"/>
            </a:endParaRPr>
          </a:p>
        </p:txBody>
      </p:sp>
      <p:sp>
        <p:nvSpPr>
          <p:cNvPr id="105" name="Elipse 104">
            <a:extLst>
              <a:ext uri="{FF2B5EF4-FFF2-40B4-BE49-F238E27FC236}">
                <a16:creationId xmlns:a16="http://schemas.microsoft.com/office/drawing/2014/main" id="{8BF3805C-7D3F-40B0-AD5C-72BA1C433B93}"/>
              </a:ext>
            </a:extLst>
          </p:cNvPr>
          <p:cNvSpPr/>
          <p:nvPr/>
        </p:nvSpPr>
        <p:spPr>
          <a:xfrm>
            <a:off x="6520470" y="3005696"/>
            <a:ext cx="432000" cy="432000"/>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FFFFFF"/>
              </a:solidFill>
              <a:effectLst/>
              <a:uLnTx/>
              <a:uFillTx/>
              <a:latin typeface="+mj-lt"/>
              <a:ea typeface="+mn-ea"/>
              <a:cs typeface="+mn-cs"/>
            </a:endParaRPr>
          </a:p>
        </p:txBody>
      </p:sp>
      <p:sp>
        <p:nvSpPr>
          <p:cNvPr id="106" name="Elipse 105">
            <a:extLst>
              <a:ext uri="{FF2B5EF4-FFF2-40B4-BE49-F238E27FC236}">
                <a16:creationId xmlns:a16="http://schemas.microsoft.com/office/drawing/2014/main" id="{1CAEE33E-8FD6-432F-B415-82935856BAB9}"/>
              </a:ext>
            </a:extLst>
          </p:cNvPr>
          <p:cNvSpPr/>
          <p:nvPr/>
        </p:nvSpPr>
        <p:spPr>
          <a:xfrm>
            <a:off x="153514" y="2995469"/>
            <a:ext cx="432000" cy="432000"/>
          </a:xfrm>
          <a:prstGeom prst="ellipse">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FFFFFF"/>
              </a:solidFill>
              <a:effectLst/>
              <a:uLnTx/>
              <a:uFillTx/>
              <a:latin typeface="+mj-lt"/>
              <a:ea typeface="+mn-ea"/>
              <a:cs typeface="+mn-cs"/>
            </a:endParaRPr>
          </a:p>
        </p:txBody>
      </p:sp>
      <p:pic>
        <p:nvPicPr>
          <p:cNvPr id="107" name="Imagen 106">
            <a:extLst>
              <a:ext uri="{FF2B5EF4-FFF2-40B4-BE49-F238E27FC236}">
                <a16:creationId xmlns:a16="http://schemas.microsoft.com/office/drawing/2014/main" id="{69581BF3-91E4-4DD3-9221-BE3B65686965}"/>
              </a:ext>
            </a:extLst>
          </p:cNvPr>
          <p:cNvPicPr>
            <a:picLocks noChangeAspect="1"/>
          </p:cNvPicPr>
          <p:nvPr/>
        </p:nvPicPr>
        <p:blipFill>
          <a:blip r:embed="rId7"/>
          <a:stretch>
            <a:fillRect/>
          </a:stretch>
        </p:blipFill>
        <p:spPr>
          <a:xfrm>
            <a:off x="175869" y="3021794"/>
            <a:ext cx="363324" cy="379354"/>
          </a:xfrm>
          <a:prstGeom prst="rect">
            <a:avLst/>
          </a:prstGeom>
        </p:spPr>
      </p:pic>
      <p:pic>
        <p:nvPicPr>
          <p:cNvPr id="108" name="Imagen 107">
            <a:extLst>
              <a:ext uri="{FF2B5EF4-FFF2-40B4-BE49-F238E27FC236}">
                <a16:creationId xmlns:a16="http://schemas.microsoft.com/office/drawing/2014/main" id="{FD0EE814-1B60-4DFA-AFD8-781107753B54}"/>
              </a:ext>
            </a:extLst>
          </p:cNvPr>
          <p:cNvPicPr>
            <a:picLocks noChangeAspect="1"/>
          </p:cNvPicPr>
          <p:nvPr/>
        </p:nvPicPr>
        <p:blipFill>
          <a:blip r:embed="rId8"/>
          <a:stretch>
            <a:fillRect/>
          </a:stretch>
        </p:blipFill>
        <p:spPr>
          <a:xfrm>
            <a:off x="2291821" y="3037404"/>
            <a:ext cx="359312" cy="375164"/>
          </a:xfrm>
          <a:prstGeom prst="rect">
            <a:avLst/>
          </a:prstGeom>
        </p:spPr>
      </p:pic>
      <p:pic>
        <p:nvPicPr>
          <p:cNvPr id="109" name="Imagen 108">
            <a:extLst>
              <a:ext uri="{FF2B5EF4-FFF2-40B4-BE49-F238E27FC236}">
                <a16:creationId xmlns:a16="http://schemas.microsoft.com/office/drawing/2014/main" id="{3DC60858-58E3-44B2-9F7C-CB55F4A13638}"/>
              </a:ext>
            </a:extLst>
          </p:cNvPr>
          <p:cNvPicPr>
            <a:picLocks noChangeAspect="1"/>
          </p:cNvPicPr>
          <p:nvPr/>
        </p:nvPicPr>
        <p:blipFill>
          <a:blip r:embed="rId9"/>
          <a:stretch>
            <a:fillRect/>
          </a:stretch>
        </p:blipFill>
        <p:spPr>
          <a:xfrm>
            <a:off x="4397097" y="3050213"/>
            <a:ext cx="359312" cy="375163"/>
          </a:xfrm>
          <a:prstGeom prst="rect">
            <a:avLst/>
          </a:prstGeom>
        </p:spPr>
      </p:pic>
      <p:pic>
        <p:nvPicPr>
          <p:cNvPr id="110" name="Imagen 109">
            <a:extLst>
              <a:ext uri="{FF2B5EF4-FFF2-40B4-BE49-F238E27FC236}">
                <a16:creationId xmlns:a16="http://schemas.microsoft.com/office/drawing/2014/main" id="{69780D99-A19B-4B74-AED9-1AF1D217C765}"/>
              </a:ext>
            </a:extLst>
          </p:cNvPr>
          <p:cNvPicPr>
            <a:picLocks noChangeAspect="1"/>
          </p:cNvPicPr>
          <p:nvPr/>
        </p:nvPicPr>
        <p:blipFill>
          <a:blip r:embed="rId10"/>
          <a:stretch>
            <a:fillRect/>
          </a:stretch>
        </p:blipFill>
        <p:spPr>
          <a:xfrm>
            <a:off x="6562531" y="3040192"/>
            <a:ext cx="347886" cy="363234"/>
          </a:xfrm>
          <a:prstGeom prst="rect">
            <a:avLst/>
          </a:prstGeom>
        </p:spPr>
      </p:pic>
      <p:sp>
        <p:nvSpPr>
          <p:cNvPr id="111" name="Rectángulo 110">
            <a:extLst>
              <a:ext uri="{FF2B5EF4-FFF2-40B4-BE49-F238E27FC236}">
                <a16:creationId xmlns:a16="http://schemas.microsoft.com/office/drawing/2014/main" id="{71D5E2BC-5746-4EEF-8447-A0670D42AD32}"/>
              </a:ext>
            </a:extLst>
          </p:cNvPr>
          <p:cNvSpPr/>
          <p:nvPr/>
        </p:nvSpPr>
        <p:spPr>
          <a:xfrm>
            <a:off x="542560" y="3011831"/>
            <a:ext cx="1529552" cy="390876"/>
          </a:xfrm>
          <a:prstGeom prst="rect">
            <a:avLst/>
          </a:prstGeom>
        </p:spPr>
        <p:txBody>
          <a:bodyPr wrap="square">
            <a:spAutoFit/>
          </a:bodyPr>
          <a:lstStyle/>
          <a:p>
            <a:r>
              <a:rPr lang="es-ES" sz="970" b="1">
                <a:solidFill>
                  <a:srgbClr val="FFFFFF"/>
                </a:solidFill>
                <a:latin typeface="+mj-lt"/>
              </a:rPr>
              <a:t>Refuerzo de la Seguridad de la Información</a:t>
            </a:r>
            <a:endParaRPr lang="es-ES" sz="970">
              <a:solidFill>
                <a:srgbClr val="FFFFFF"/>
              </a:solidFill>
              <a:latin typeface="+mj-lt"/>
            </a:endParaRPr>
          </a:p>
        </p:txBody>
      </p:sp>
      <p:sp>
        <p:nvSpPr>
          <p:cNvPr id="112" name="Rectángulo 111">
            <a:extLst>
              <a:ext uri="{FF2B5EF4-FFF2-40B4-BE49-F238E27FC236}">
                <a16:creationId xmlns:a16="http://schemas.microsoft.com/office/drawing/2014/main" id="{53D9D329-EFBD-401C-8011-6E4A9D9B05B2}"/>
              </a:ext>
            </a:extLst>
          </p:cNvPr>
          <p:cNvSpPr/>
          <p:nvPr/>
        </p:nvSpPr>
        <p:spPr>
          <a:xfrm>
            <a:off x="2693193" y="3029362"/>
            <a:ext cx="1450360" cy="390876"/>
          </a:xfrm>
          <a:prstGeom prst="rect">
            <a:avLst/>
          </a:prstGeom>
        </p:spPr>
        <p:txBody>
          <a:bodyPr wrap="square">
            <a:spAutoFit/>
          </a:bodyPr>
          <a:lstStyle/>
          <a:p>
            <a:r>
              <a:rPr lang="es-ES" sz="970" b="1">
                <a:solidFill>
                  <a:srgbClr val="FFFFFF"/>
                </a:solidFill>
                <a:latin typeface="+mj-lt"/>
              </a:rPr>
              <a:t>Acceso Remoto Seguro a sus aplicaciones</a:t>
            </a:r>
          </a:p>
        </p:txBody>
      </p:sp>
      <p:sp>
        <p:nvSpPr>
          <p:cNvPr id="113" name="Rectángulo 112">
            <a:extLst>
              <a:ext uri="{FF2B5EF4-FFF2-40B4-BE49-F238E27FC236}">
                <a16:creationId xmlns:a16="http://schemas.microsoft.com/office/drawing/2014/main" id="{8B5055E5-3662-44A7-99DA-5295BAF10A7F}"/>
              </a:ext>
            </a:extLst>
          </p:cNvPr>
          <p:cNvSpPr/>
          <p:nvPr/>
        </p:nvSpPr>
        <p:spPr>
          <a:xfrm>
            <a:off x="4814206" y="3096822"/>
            <a:ext cx="1536062" cy="241605"/>
          </a:xfrm>
          <a:prstGeom prst="rect">
            <a:avLst/>
          </a:prstGeom>
        </p:spPr>
        <p:txBody>
          <a:bodyPr wrap="square">
            <a:spAutoFit/>
          </a:bodyPr>
          <a:lstStyle/>
          <a:p>
            <a:r>
              <a:rPr lang="es-ES" sz="970" b="1">
                <a:solidFill>
                  <a:srgbClr val="FFFFFF"/>
                </a:solidFill>
                <a:latin typeface="+mj-lt"/>
              </a:rPr>
              <a:t>Uso de Videoconferencia</a:t>
            </a:r>
          </a:p>
        </p:txBody>
      </p:sp>
      <p:sp>
        <p:nvSpPr>
          <p:cNvPr id="114" name="Rectángulo 113">
            <a:extLst>
              <a:ext uri="{FF2B5EF4-FFF2-40B4-BE49-F238E27FC236}">
                <a16:creationId xmlns:a16="http://schemas.microsoft.com/office/drawing/2014/main" id="{C2729A05-5AA9-4448-9E92-0CA0F8E3365C}"/>
              </a:ext>
            </a:extLst>
          </p:cNvPr>
          <p:cNvSpPr/>
          <p:nvPr/>
        </p:nvSpPr>
        <p:spPr>
          <a:xfrm>
            <a:off x="6966848" y="3073016"/>
            <a:ext cx="1675459" cy="241605"/>
          </a:xfrm>
          <a:prstGeom prst="rect">
            <a:avLst/>
          </a:prstGeom>
        </p:spPr>
        <p:txBody>
          <a:bodyPr wrap="none">
            <a:spAutoFit/>
          </a:bodyPr>
          <a:lstStyle/>
          <a:p>
            <a:r>
              <a:rPr lang="es-ES" sz="970" b="1">
                <a:solidFill>
                  <a:srgbClr val="FFFFFF"/>
                </a:solidFill>
                <a:latin typeface="+mj-lt"/>
              </a:rPr>
              <a:t>Ergonomía en el Teletrabajo </a:t>
            </a:r>
          </a:p>
        </p:txBody>
      </p:sp>
      <p:sp>
        <p:nvSpPr>
          <p:cNvPr id="115" name="Rectángulo 114">
            <a:extLst>
              <a:ext uri="{FF2B5EF4-FFF2-40B4-BE49-F238E27FC236}">
                <a16:creationId xmlns:a16="http://schemas.microsoft.com/office/drawing/2014/main" id="{96A33445-0565-41C0-AE7C-F05DC918AFAC}"/>
              </a:ext>
            </a:extLst>
          </p:cNvPr>
          <p:cNvSpPr/>
          <p:nvPr/>
        </p:nvSpPr>
        <p:spPr>
          <a:xfrm>
            <a:off x="179253" y="3383077"/>
            <a:ext cx="2058394" cy="1456296"/>
          </a:xfrm>
          <a:prstGeom prst="rect">
            <a:avLst/>
          </a:prstGeom>
        </p:spPr>
        <p:txBody>
          <a:bodyPr wrap="square">
            <a:spAutoFit/>
          </a:bodyPr>
          <a:lstStyle/>
          <a:p>
            <a:pPr algn="just"/>
            <a:r>
              <a:rPr lang="es-ES" sz="1108" dirty="0">
                <a:solidFill>
                  <a:srgbClr val="4E4E4E"/>
                </a:solidFill>
                <a:latin typeface="+mj-lt"/>
              </a:rPr>
              <a:t>Ejecutando acciones dirigidas a informar e intensificar las medidas especiales de seguridad que deben tomar los profesionales ante el aumento de diferentes ataques aprovechando la coyuntura actual.</a:t>
            </a:r>
          </a:p>
        </p:txBody>
      </p:sp>
      <p:sp>
        <p:nvSpPr>
          <p:cNvPr id="116" name="Rectángulo 115">
            <a:extLst>
              <a:ext uri="{FF2B5EF4-FFF2-40B4-BE49-F238E27FC236}">
                <a16:creationId xmlns:a16="http://schemas.microsoft.com/office/drawing/2014/main" id="{82E01582-4EC4-420C-805A-1682FAEB8B94}"/>
              </a:ext>
            </a:extLst>
          </p:cNvPr>
          <p:cNvSpPr/>
          <p:nvPr/>
        </p:nvSpPr>
        <p:spPr>
          <a:xfrm>
            <a:off x="2297083" y="3383077"/>
            <a:ext cx="2079612" cy="774315"/>
          </a:xfrm>
          <a:prstGeom prst="rect">
            <a:avLst/>
          </a:prstGeom>
        </p:spPr>
        <p:txBody>
          <a:bodyPr wrap="square">
            <a:spAutoFit/>
          </a:bodyPr>
          <a:lstStyle/>
          <a:p>
            <a:pPr algn="just"/>
            <a:r>
              <a:rPr lang="es-ES" sz="1108" dirty="0">
                <a:solidFill>
                  <a:srgbClr val="4E4E4E"/>
                </a:solidFill>
                <a:latin typeface="+mj-lt"/>
              </a:rPr>
              <a:t>Habilitando mecanismos que permiten a los usuarios acceder a las aplicaciones que necesitan para desarrollar su trabajo.  </a:t>
            </a:r>
          </a:p>
        </p:txBody>
      </p:sp>
      <p:sp>
        <p:nvSpPr>
          <p:cNvPr id="117" name="Rectángulo 116">
            <a:extLst>
              <a:ext uri="{FF2B5EF4-FFF2-40B4-BE49-F238E27FC236}">
                <a16:creationId xmlns:a16="http://schemas.microsoft.com/office/drawing/2014/main" id="{4FA3FBF3-FD96-4D4B-9A5F-6294467A7041}"/>
              </a:ext>
            </a:extLst>
          </p:cNvPr>
          <p:cNvSpPr/>
          <p:nvPr/>
        </p:nvSpPr>
        <p:spPr>
          <a:xfrm>
            <a:off x="4489338" y="3383076"/>
            <a:ext cx="1897398" cy="774315"/>
          </a:xfrm>
          <a:prstGeom prst="rect">
            <a:avLst/>
          </a:prstGeom>
        </p:spPr>
        <p:txBody>
          <a:bodyPr wrap="square">
            <a:spAutoFit/>
          </a:bodyPr>
          <a:lstStyle/>
          <a:p>
            <a:pPr algn="just"/>
            <a:r>
              <a:rPr lang="es-ES" sz="1108" dirty="0">
                <a:solidFill>
                  <a:srgbClr val="4E4E4E"/>
                </a:solidFill>
                <a:latin typeface="+mj-lt"/>
              </a:rPr>
              <a:t>Habilitando Salas virtuales para la celebración de videoconferencias móviles y fijas. </a:t>
            </a:r>
          </a:p>
        </p:txBody>
      </p:sp>
      <p:sp>
        <p:nvSpPr>
          <p:cNvPr id="118" name="Rectángulo 117">
            <a:extLst>
              <a:ext uri="{FF2B5EF4-FFF2-40B4-BE49-F238E27FC236}">
                <a16:creationId xmlns:a16="http://schemas.microsoft.com/office/drawing/2014/main" id="{D5446280-930C-41FC-8FC6-CBD853E23E09}"/>
              </a:ext>
            </a:extLst>
          </p:cNvPr>
          <p:cNvSpPr/>
          <p:nvPr/>
        </p:nvSpPr>
        <p:spPr>
          <a:xfrm>
            <a:off x="6517975" y="3383076"/>
            <a:ext cx="2334542" cy="774315"/>
          </a:xfrm>
          <a:prstGeom prst="rect">
            <a:avLst/>
          </a:prstGeom>
        </p:spPr>
        <p:txBody>
          <a:bodyPr wrap="square">
            <a:spAutoFit/>
          </a:bodyPr>
          <a:lstStyle/>
          <a:p>
            <a:pPr algn="just"/>
            <a:r>
              <a:rPr lang="es-ES" sz="1108" dirty="0">
                <a:solidFill>
                  <a:srgbClr val="4E4E4E"/>
                </a:solidFill>
                <a:latin typeface="+mj-lt"/>
              </a:rPr>
              <a:t>Realizando acciones para aconsejar a los usuarios sobre cómo acondicionar su hogar y convertirlo en un espacio de trabajo saludable. </a:t>
            </a:r>
          </a:p>
        </p:txBody>
      </p:sp>
      <p:cxnSp>
        <p:nvCxnSpPr>
          <p:cNvPr id="119" name="Conector recto 118">
            <a:extLst>
              <a:ext uri="{FF2B5EF4-FFF2-40B4-BE49-F238E27FC236}">
                <a16:creationId xmlns:a16="http://schemas.microsoft.com/office/drawing/2014/main" id="{314418CE-9D3A-4A64-9283-47A0046E5F5B}"/>
              </a:ext>
            </a:extLst>
          </p:cNvPr>
          <p:cNvCxnSpPr>
            <a:cxnSpLocks/>
          </p:cNvCxnSpPr>
          <p:nvPr/>
        </p:nvCxnSpPr>
        <p:spPr>
          <a:xfrm>
            <a:off x="1307334" y="2764165"/>
            <a:ext cx="1" cy="205943"/>
          </a:xfrm>
          <a:prstGeom prst="line">
            <a:avLst/>
          </a:prstGeom>
          <a:noFill/>
          <a:ln w="28575" cap="flat" cmpd="sng" algn="ctr">
            <a:solidFill>
              <a:srgbClr val="043A6C">
                <a:shade val="95000"/>
                <a:satMod val="105000"/>
              </a:srgbClr>
            </a:solidFill>
            <a:prstDash val="solid"/>
          </a:ln>
          <a:effectLst/>
        </p:spPr>
      </p:cxnSp>
      <p:cxnSp>
        <p:nvCxnSpPr>
          <p:cNvPr id="120" name="Conector recto 119">
            <a:extLst>
              <a:ext uri="{FF2B5EF4-FFF2-40B4-BE49-F238E27FC236}">
                <a16:creationId xmlns:a16="http://schemas.microsoft.com/office/drawing/2014/main" id="{8403E81E-C05C-4378-8143-73507A6DC40F}"/>
              </a:ext>
            </a:extLst>
          </p:cNvPr>
          <p:cNvCxnSpPr>
            <a:cxnSpLocks/>
          </p:cNvCxnSpPr>
          <p:nvPr/>
        </p:nvCxnSpPr>
        <p:spPr>
          <a:xfrm>
            <a:off x="3313135" y="2769096"/>
            <a:ext cx="1" cy="205943"/>
          </a:xfrm>
          <a:prstGeom prst="line">
            <a:avLst/>
          </a:prstGeom>
          <a:noFill/>
          <a:ln w="28575" cap="flat" cmpd="sng" algn="ctr">
            <a:solidFill>
              <a:srgbClr val="043A6C">
                <a:shade val="95000"/>
                <a:satMod val="105000"/>
              </a:srgbClr>
            </a:solidFill>
            <a:prstDash val="solid"/>
          </a:ln>
          <a:effectLst/>
        </p:spPr>
      </p:cxnSp>
      <p:cxnSp>
        <p:nvCxnSpPr>
          <p:cNvPr id="121" name="Conector recto 120">
            <a:extLst>
              <a:ext uri="{FF2B5EF4-FFF2-40B4-BE49-F238E27FC236}">
                <a16:creationId xmlns:a16="http://schemas.microsoft.com/office/drawing/2014/main" id="{29FED1E8-7101-4AE0-84F4-C7CF7B705542}"/>
              </a:ext>
            </a:extLst>
          </p:cNvPr>
          <p:cNvCxnSpPr>
            <a:cxnSpLocks/>
          </p:cNvCxnSpPr>
          <p:nvPr/>
        </p:nvCxnSpPr>
        <p:spPr>
          <a:xfrm>
            <a:off x="5315986" y="2744915"/>
            <a:ext cx="1" cy="205943"/>
          </a:xfrm>
          <a:prstGeom prst="line">
            <a:avLst/>
          </a:prstGeom>
          <a:noFill/>
          <a:ln w="28575" cap="flat" cmpd="sng" algn="ctr">
            <a:solidFill>
              <a:srgbClr val="043A6C">
                <a:shade val="95000"/>
                <a:satMod val="105000"/>
              </a:srgbClr>
            </a:solidFill>
            <a:prstDash val="solid"/>
          </a:ln>
          <a:effectLst/>
        </p:spPr>
      </p:cxnSp>
      <p:cxnSp>
        <p:nvCxnSpPr>
          <p:cNvPr id="122" name="Conector recto 121">
            <a:extLst>
              <a:ext uri="{FF2B5EF4-FFF2-40B4-BE49-F238E27FC236}">
                <a16:creationId xmlns:a16="http://schemas.microsoft.com/office/drawing/2014/main" id="{B87E2F7A-67F1-462B-9DB1-7F6E81FCA2AD}"/>
              </a:ext>
            </a:extLst>
          </p:cNvPr>
          <p:cNvCxnSpPr>
            <a:cxnSpLocks/>
          </p:cNvCxnSpPr>
          <p:nvPr/>
        </p:nvCxnSpPr>
        <p:spPr>
          <a:xfrm>
            <a:off x="7625388" y="2776753"/>
            <a:ext cx="1" cy="205943"/>
          </a:xfrm>
          <a:prstGeom prst="line">
            <a:avLst/>
          </a:prstGeom>
          <a:noFill/>
          <a:ln w="28575" cap="flat" cmpd="sng" algn="ctr">
            <a:solidFill>
              <a:srgbClr val="043A6C">
                <a:shade val="95000"/>
                <a:satMod val="105000"/>
              </a:srgbClr>
            </a:solidFill>
            <a:prstDash val="solid"/>
          </a:ln>
          <a:effectLst/>
        </p:spPr>
      </p:cxnSp>
      <p:sp>
        <p:nvSpPr>
          <p:cNvPr id="123" name="Rectángulo 122">
            <a:extLst>
              <a:ext uri="{FF2B5EF4-FFF2-40B4-BE49-F238E27FC236}">
                <a16:creationId xmlns:a16="http://schemas.microsoft.com/office/drawing/2014/main" id="{12CB8916-247C-4E18-BB1B-129239FDA7B7}"/>
              </a:ext>
            </a:extLst>
          </p:cNvPr>
          <p:cNvSpPr/>
          <p:nvPr/>
        </p:nvSpPr>
        <p:spPr>
          <a:xfrm>
            <a:off x="1482241" y="4816977"/>
            <a:ext cx="6066989" cy="917571"/>
          </a:xfrm>
          <a:prstGeom prst="rect">
            <a:avLst/>
          </a:prstGeom>
          <a:solidFill>
            <a:srgbClr val="043A6C"/>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FFFFFF"/>
              </a:solidFill>
              <a:effectLst/>
              <a:uLnTx/>
              <a:uFillTx/>
              <a:latin typeface="+mj-lt"/>
              <a:ea typeface="+mn-ea"/>
              <a:cs typeface="+mn-cs"/>
            </a:endParaRPr>
          </a:p>
        </p:txBody>
      </p:sp>
      <p:grpSp>
        <p:nvGrpSpPr>
          <p:cNvPr id="124" name="Grupo 123">
            <a:extLst>
              <a:ext uri="{FF2B5EF4-FFF2-40B4-BE49-F238E27FC236}">
                <a16:creationId xmlns:a16="http://schemas.microsoft.com/office/drawing/2014/main" id="{3216C673-F4D7-43E6-AC03-9C9B5D23C97A}"/>
              </a:ext>
            </a:extLst>
          </p:cNvPr>
          <p:cNvGrpSpPr/>
          <p:nvPr/>
        </p:nvGrpSpPr>
        <p:grpSpPr>
          <a:xfrm rot="176217">
            <a:off x="5145340" y="4258151"/>
            <a:ext cx="2864492" cy="2004743"/>
            <a:chOff x="10788818" y="1316957"/>
            <a:chExt cx="2137783" cy="1496150"/>
          </a:xfrm>
        </p:grpSpPr>
        <p:sp>
          <p:nvSpPr>
            <p:cNvPr id="125" name="Rectángulo 124">
              <a:extLst>
                <a:ext uri="{FF2B5EF4-FFF2-40B4-BE49-F238E27FC236}">
                  <a16:creationId xmlns:a16="http://schemas.microsoft.com/office/drawing/2014/main" id="{C36462AC-630A-4EF5-95FA-6614A9D630A1}"/>
                </a:ext>
              </a:extLst>
            </p:cNvPr>
            <p:cNvSpPr/>
            <p:nvPr/>
          </p:nvSpPr>
          <p:spPr>
            <a:xfrm>
              <a:off x="10788818" y="1415297"/>
              <a:ext cx="2137783" cy="1397810"/>
            </a:xfrm>
            <a:prstGeom prst="rect">
              <a:avLst/>
            </a:prstGeom>
            <a:solidFill>
              <a:srgbClr val="043A6C"/>
            </a:solidFill>
            <a:ln w="25400" cap="flat" cmpd="sng" algn="ctr">
              <a:noFill/>
              <a:prstDash val="solid"/>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FFFFFF"/>
                </a:solidFill>
                <a:effectLst/>
                <a:uLnTx/>
                <a:uFillTx/>
                <a:latin typeface="+mj-lt"/>
                <a:ea typeface="+mn-ea"/>
                <a:cs typeface="+mn-cs"/>
              </a:endParaRPr>
            </a:p>
          </p:txBody>
        </p:sp>
        <p:pic>
          <p:nvPicPr>
            <p:cNvPr id="126" name="Imagen 125">
              <a:extLst>
                <a:ext uri="{FF2B5EF4-FFF2-40B4-BE49-F238E27FC236}">
                  <a16:creationId xmlns:a16="http://schemas.microsoft.com/office/drawing/2014/main" id="{7214681D-9852-4400-83FF-27544F4CF618}"/>
                </a:ext>
              </a:extLst>
            </p:cNvPr>
            <p:cNvPicPr>
              <a:picLocks noChangeAspect="1"/>
            </p:cNvPicPr>
            <p:nvPr/>
          </p:nvPicPr>
          <p:blipFill rotWithShape="1">
            <a:blip r:embed="rId11"/>
            <a:srcRect t="3624"/>
            <a:stretch/>
          </p:blipFill>
          <p:spPr>
            <a:xfrm>
              <a:off x="11040429" y="1454762"/>
              <a:ext cx="1838221" cy="1305517"/>
            </a:xfrm>
            <a:prstGeom prst="rect">
              <a:avLst/>
            </a:prstGeom>
            <a:ln>
              <a:noFill/>
            </a:ln>
            <a:effectLst>
              <a:outerShdw blurRad="50800" dist="38100" dir="2700000" algn="tl" rotWithShape="0">
                <a:prstClr val="black">
                  <a:alpha val="40000"/>
                </a:prstClr>
              </a:outerShdw>
            </a:effectLst>
          </p:spPr>
        </p:pic>
        <p:sp>
          <p:nvSpPr>
            <p:cNvPr id="127" name="Rectángulo 126">
              <a:extLst>
                <a:ext uri="{FF2B5EF4-FFF2-40B4-BE49-F238E27FC236}">
                  <a16:creationId xmlns:a16="http://schemas.microsoft.com/office/drawing/2014/main" id="{D6820BAD-DF34-4712-B744-3C2B90B134E2}"/>
                </a:ext>
              </a:extLst>
            </p:cNvPr>
            <p:cNvSpPr/>
            <p:nvPr/>
          </p:nvSpPr>
          <p:spPr>
            <a:xfrm rot="16200000">
              <a:off x="10239361" y="1917787"/>
              <a:ext cx="1397810" cy="19615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108" b="0" i="0" u="none" strike="noStrike" kern="0" cap="none" spc="0" normalizeH="0" baseline="0" noProof="0">
                  <a:ln>
                    <a:noFill/>
                  </a:ln>
                  <a:solidFill>
                    <a:srgbClr val="FFFFFF"/>
                  </a:solidFill>
                  <a:effectLst/>
                  <a:uLnTx/>
                  <a:uFillTx/>
                  <a:latin typeface="+mj-lt"/>
                </a:rPr>
                <a:t>PLAN DE COMUNICACIÓN</a:t>
              </a:r>
            </a:p>
          </p:txBody>
        </p:sp>
      </p:grpSp>
      <p:sp>
        <p:nvSpPr>
          <p:cNvPr id="128" name="Rectángulo 127">
            <a:extLst>
              <a:ext uri="{FF2B5EF4-FFF2-40B4-BE49-F238E27FC236}">
                <a16:creationId xmlns:a16="http://schemas.microsoft.com/office/drawing/2014/main" id="{F8DDC336-AA64-4342-AD8B-896A4FF8DD0F}"/>
              </a:ext>
            </a:extLst>
          </p:cNvPr>
          <p:cNvSpPr/>
          <p:nvPr/>
        </p:nvSpPr>
        <p:spPr>
          <a:xfrm>
            <a:off x="1515908" y="4836000"/>
            <a:ext cx="3655452" cy="887679"/>
          </a:xfrm>
          <a:prstGeom prst="rect">
            <a:avLst/>
          </a:prstGeom>
        </p:spPr>
        <p:txBody>
          <a:bodyPr wrap="square">
            <a:spAutoFit/>
          </a:bodyPr>
          <a:lstStyle/>
          <a:p>
            <a:pPr algn="just"/>
            <a:r>
              <a:rPr lang="es-ES" sz="1292" dirty="0">
                <a:solidFill>
                  <a:srgbClr val="FFFFFF"/>
                </a:solidFill>
                <a:latin typeface="+mj-lt"/>
              </a:rPr>
              <a:t>Para apoyar el Plan de Teletrabajo se puso en marcha </a:t>
            </a:r>
            <a:r>
              <a:rPr lang="es-ES" sz="1292" u="sng" dirty="0">
                <a:solidFill>
                  <a:srgbClr val="FFFFFF"/>
                </a:solidFill>
                <a:latin typeface="+mj-lt"/>
              </a:rPr>
              <a:t>un </a:t>
            </a:r>
            <a:r>
              <a:rPr lang="es-ES" sz="1292" b="1" u="sng" dirty="0">
                <a:solidFill>
                  <a:srgbClr val="FFFFFF"/>
                </a:solidFill>
                <a:latin typeface="+mj-lt"/>
              </a:rPr>
              <a:t>Plan de Comunicación</a:t>
            </a:r>
            <a:r>
              <a:rPr lang="es-ES" sz="1292" b="1" dirty="0">
                <a:solidFill>
                  <a:srgbClr val="FFFFFF"/>
                </a:solidFill>
                <a:latin typeface="+mj-lt"/>
              </a:rPr>
              <a:t> </a:t>
            </a:r>
            <a:r>
              <a:rPr lang="es-ES" sz="1292" dirty="0">
                <a:solidFill>
                  <a:srgbClr val="FFFFFF"/>
                </a:solidFill>
                <a:latin typeface="+mj-lt"/>
              </a:rPr>
              <a:t>con acciones diarias para informar a los usuarios ante las soluciones que hacen posible esta modalidad.</a:t>
            </a:r>
            <a:endParaRPr lang="es-ES" sz="1292" b="1" dirty="0">
              <a:solidFill>
                <a:srgbClr val="FFFFFF"/>
              </a:solidFill>
              <a:latin typeface="+mj-lt"/>
            </a:endParaRPr>
          </a:p>
        </p:txBody>
      </p:sp>
      <p:sp>
        <p:nvSpPr>
          <p:cNvPr id="130" name="CuadroTexto 129">
            <a:extLst>
              <a:ext uri="{FF2B5EF4-FFF2-40B4-BE49-F238E27FC236}">
                <a16:creationId xmlns:a16="http://schemas.microsoft.com/office/drawing/2014/main" id="{580CDD65-DDB8-4970-90E8-81F4D3ACA64C}"/>
              </a:ext>
            </a:extLst>
          </p:cNvPr>
          <p:cNvSpPr txBox="1"/>
          <p:nvPr/>
        </p:nvSpPr>
        <p:spPr>
          <a:xfrm>
            <a:off x="132717" y="890626"/>
            <a:ext cx="3412857" cy="49013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585" b="1" i="0" u="none" strike="noStrike" kern="1200" cap="none" spc="0" normalizeH="0" baseline="0" noProof="0">
                <a:ln>
                  <a:noFill/>
                </a:ln>
                <a:solidFill>
                  <a:srgbClr val="043A6C"/>
                </a:solidFill>
                <a:effectLst/>
                <a:highlight>
                  <a:srgbClr val="C6DCF0"/>
                </a:highlight>
                <a:uLnTx/>
                <a:uFillTx/>
                <a:latin typeface="Calibri" panose="020F0502020204030204"/>
                <a:ea typeface="+mn-ea"/>
                <a:cs typeface="+mn-cs"/>
              </a:rPr>
              <a:t>PLAN DE TELETRABAJO </a:t>
            </a:r>
          </a:p>
        </p:txBody>
      </p:sp>
      <p:sp>
        <p:nvSpPr>
          <p:cNvPr id="42" name="Marcador de número de diapositiva 1">
            <a:extLst>
              <a:ext uri="{FF2B5EF4-FFF2-40B4-BE49-F238E27FC236}">
                <a16:creationId xmlns:a16="http://schemas.microsoft.com/office/drawing/2014/main" id="{68CFB414-0875-4F9F-B395-D0D9D54AF538}"/>
              </a:ext>
            </a:extLst>
          </p:cNvPr>
          <p:cNvSpPr txBox="1">
            <a:spLocks/>
          </p:cNvSpPr>
          <p:nvPr/>
        </p:nvSpPr>
        <p:spPr>
          <a:xfrm>
            <a:off x="6858714" y="6522290"/>
            <a:ext cx="2133600" cy="337038"/>
          </a:xfrm>
          <a:prstGeom prst="rect">
            <a:avLst/>
          </a:prstGeom>
        </p:spPr>
        <p:txBody>
          <a:bodyPr/>
          <a:lstStyle>
            <a:defPPr>
              <a:defRPr lang="es-ES"/>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44061">
              <a:defRPr/>
            </a:pPr>
            <a:fld id="{F72BFCD6-C37F-4D4F-B6AD-71D3A36D527F}" type="slidenum">
              <a:rPr lang="es-ES" smtClean="0">
                <a:latin typeface="+mj-lt"/>
              </a:rPr>
              <a:pPr defTabSz="844061">
                <a:defRPr/>
              </a:pPr>
              <a:t>3</a:t>
            </a:fld>
            <a:endParaRPr lang="es-ES" dirty="0">
              <a:latin typeface="+mj-lt"/>
            </a:endParaRPr>
          </a:p>
        </p:txBody>
      </p:sp>
      <p:pic>
        <p:nvPicPr>
          <p:cNvPr id="43" name="Imagen 42">
            <a:extLst>
              <a:ext uri="{FF2B5EF4-FFF2-40B4-BE49-F238E27FC236}">
                <a16:creationId xmlns:a16="http://schemas.microsoft.com/office/drawing/2014/main" id="{EF4E0D34-B6F0-4141-BF63-212DB5EE7AC6}"/>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3670222" y="6456551"/>
            <a:ext cx="1803557" cy="254795"/>
          </a:xfrm>
          <a:prstGeom prst="rect">
            <a:avLst/>
          </a:prstGeom>
        </p:spPr>
      </p:pic>
    </p:spTree>
    <p:extLst>
      <p:ext uri="{BB962C8B-B14F-4D97-AF65-F5344CB8AC3E}">
        <p14:creationId xmlns:p14="http://schemas.microsoft.com/office/powerpoint/2010/main" val="24134233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0DFCF691-AA9F-48AA-9A1D-4091E673B9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95" imgH="396" progId="TCLayout.ActiveDocument.1">
                  <p:embed/>
                </p:oleObj>
              </mc:Choice>
              <mc:Fallback>
                <p:oleObj name="Diapositiva de think-cell" r:id="rId3" imgW="395" imgH="396" progId="TCLayout.ActiveDocument.1">
                  <p:embed/>
                  <p:pic>
                    <p:nvPicPr>
                      <p:cNvPr id="4" name="Objeto 3" hidden="1">
                        <a:extLst>
                          <a:ext uri="{FF2B5EF4-FFF2-40B4-BE49-F238E27FC236}">
                            <a16:creationId xmlns:a16="http://schemas.microsoft.com/office/drawing/2014/main" id="{0DFCF691-AA9F-48AA-9A1D-4091E673B9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Imagen 2" descr="Control de videojuego en las manos&#10;&#10;Descripción generada automáticamente con confianza baja">
            <a:extLst>
              <a:ext uri="{FF2B5EF4-FFF2-40B4-BE49-F238E27FC236}">
                <a16:creationId xmlns:a16="http://schemas.microsoft.com/office/drawing/2014/main" id="{98BDAF5F-FE93-4954-A028-813A55B3C8A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4155" r="14153"/>
          <a:stretch/>
        </p:blipFill>
        <p:spPr>
          <a:xfrm>
            <a:off x="-1" y="0"/>
            <a:ext cx="9144001" cy="6858000"/>
          </a:xfrm>
          <a:prstGeom prst="rect">
            <a:avLst/>
          </a:prstGeom>
        </p:spPr>
      </p:pic>
      <p:sp>
        <p:nvSpPr>
          <p:cNvPr id="9" name="Rectángulo 8">
            <a:extLst>
              <a:ext uri="{FF2B5EF4-FFF2-40B4-BE49-F238E27FC236}">
                <a16:creationId xmlns:a16="http://schemas.microsoft.com/office/drawing/2014/main" id="{F299C2C1-FB88-4030-ADD2-45456D143E3F}"/>
              </a:ext>
            </a:extLst>
          </p:cNvPr>
          <p:cNvSpPr/>
          <p:nvPr/>
        </p:nvSpPr>
        <p:spPr>
          <a:xfrm>
            <a:off x="8355" y="491022"/>
            <a:ext cx="5163251" cy="19242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3600" b="1" dirty="0">
                <a:solidFill>
                  <a:schemeClr val="accent1"/>
                </a:solidFill>
                <a:highlight>
                  <a:srgbClr val="043A6C"/>
                </a:highlight>
              </a:rPr>
              <a:t>SACAMOS LO POSITIVO DE LA CRISIS</a:t>
            </a:r>
          </a:p>
        </p:txBody>
      </p:sp>
      <p:sp>
        <p:nvSpPr>
          <p:cNvPr id="12" name="Rectángulo 11">
            <a:extLst>
              <a:ext uri="{FF2B5EF4-FFF2-40B4-BE49-F238E27FC236}">
                <a16:creationId xmlns:a16="http://schemas.microsoft.com/office/drawing/2014/main" id="{A4EBB555-5A1D-4003-90BA-D397794EFC5D}"/>
              </a:ext>
            </a:extLst>
          </p:cNvPr>
          <p:cNvSpPr/>
          <p:nvPr/>
        </p:nvSpPr>
        <p:spPr>
          <a:xfrm>
            <a:off x="-401528" y="397002"/>
            <a:ext cx="5171608" cy="4950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3200" dirty="0">
                <a:solidFill>
                  <a:schemeClr val="tx2"/>
                </a:solidFill>
                <a:highlight>
                  <a:srgbClr val="FFFFFF"/>
                </a:highlight>
              </a:rPr>
              <a:t>ESTO SOLO FUE EL INICIO</a:t>
            </a:r>
          </a:p>
        </p:txBody>
      </p:sp>
      <p:sp>
        <p:nvSpPr>
          <p:cNvPr id="13" name="CuadroTexto 12">
            <a:extLst>
              <a:ext uri="{FF2B5EF4-FFF2-40B4-BE49-F238E27FC236}">
                <a16:creationId xmlns:a16="http://schemas.microsoft.com/office/drawing/2014/main" id="{DAE77477-3C2A-409A-AD74-33156DBD7261}"/>
              </a:ext>
            </a:extLst>
          </p:cNvPr>
          <p:cNvSpPr txBox="1"/>
          <p:nvPr/>
        </p:nvSpPr>
        <p:spPr>
          <a:xfrm>
            <a:off x="8354" y="1962887"/>
            <a:ext cx="9135646" cy="2062103"/>
          </a:xfrm>
          <a:prstGeom prst="rect">
            <a:avLst/>
          </a:prstGeom>
          <a:noFill/>
        </p:spPr>
        <p:txBody>
          <a:bodyPr wrap="square">
            <a:spAutoFit/>
          </a:bodyPr>
          <a:lstStyle/>
          <a:p>
            <a:r>
              <a:rPr lang="es-ES" sz="2800" b="1" dirty="0">
                <a:solidFill>
                  <a:schemeClr val="tx2"/>
                </a:solidFill>
                <a:highlight>
                  <a:srgbClr val="F2B808"/>
                </a:highlight>
              </a:rPr>
              <a:t>Y evolucionamos:</a:t>
            </a:r>
          </a:p>
          <a:p>
            <a:pPr lvl="0">
              <a:defRPr/>
            </a:pPr>
            <a:endParaRPr lang="es-ES" sz="2800" b="1" dirty="0">
              <a:solidFill>
                <a:schemeClr val="tx2"/>
              </a:solidFill>
              <a:highlight>
                <a:srgbClr val="E3F2FE"/>
              </a:highlight>
              <a:latin typeface="+mj-lt"/>
            </a:endParaRPr>
          </a:p>
          <a:p>
            <a:pPr lvl="0">
              <a:defRPr/>
            </a:pPr>
            <a:r>
              <a:rPr lang="es-ES" sz="4400" b="1" dirty="0">
                <a:solidFill>
                  <a:schemeClr val="tx2"/>
                </a:solidFill>
                <a:highlight>
                  <a:srgbClr val="E3F2FE"/>
                </a:highlight>
                <a:latin typeface="+mj-lt"/>
              </a:rPr>
              <a:t>PUESTO DE TRABAJO DESLOCALIZADO</a:t>
            </a:r>
          </a:p>
          <a:p>
            <a:endParaRPr lang="es-ES" sz="2800" b="1" dirty="0">
              <a:solidFill>
                <a:schemeClr val="accent1"/>
              </a:solidFill>
              <a:highlight>
                <a:srgbClr val="043A6C"/>
              </a:highlight>
            </a:endParaRPr>
          </a:p>
        </p:txBody>
      </p:sp>
      <p:sp>
        <p:nvSpPr>
          <p:cNvPr id="15" name="Marcador de número de diapositiva 1">
            <a:extLst>
              <a:ext uri="{FF2B5EF4-FFF2-40B4-BE49-F238E27FC236}">
                <a16:creationId xmlns:a16="http://schemas.microsoft.com/office/drawing/2014/main" id="{7793FE2E-47D7-48B9-9565-110F677B9CEB}"/>
              </a:ext>
            </a:extLst>
          </p:cNvPr>
          <p:cNvSpPr txBox="1">
            <a:spLocks/>
          </p:cNvSpPr>
          <p:nvPr/>
        </p:nvSpPr>
        <p:spPr>
          <a:xfrm>
            <a:off x="6858714" y="6522290"/>
            <a:ext cx="2133600" cy="337038"/>
          </a:xfrm>
          <a:prstGeom prst="rect">
            <a:avLst/>
          </a:prstGeom>
        </p:spPr>
        <p:txBody>
          <a:bodyPr/>
          <a:lstStyle>
            <a:defPPr>
              <a:defRPr lang="es-ES"/>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44061">
              <a:defRPr/>
            </a:pPr>
            <a:fld id="{F72BFCD6-C37F-4D4F-B6AD-71D3A36D527F}" type="slidenum">
              <a:rPr lang="es-ES" smtClean="0">
                <a:latin typeface="+mj-lt"/>
              </a:rPr>
              <a:pPr defTabSz="844061">
                <a:defRPr/>
              </a:pPr>
              <a:t>4</a:t>
            </a:fld>
            <a:endParaRPr lang="es-ES" dirty="0">
              <a:latin typeface="+mj-lt"/>
            </a:endParaRPr>
          </a:p>
        </p:txBody>
      </p:sp>
      <p:pic>
        <p:nvPicPr>
          <p:cNvPr id="16" name="Imagen 15">
            <a:extLst>
              <a:ext uri="{FF2B5EF4-FFF2-40B4-BE49-F238E27FC236}">
                <a16:creationId xmlns:a16="http://schemas.microsoft.com/office/drawing/2014/main" id="{477FADB2-FE49-4319-93B0-D2D6DBAB5A9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670222" y="6456551"/>
            <a:ext cx="1803557" cy="254795"/>
          </a:xfrm>
          <a:prstGeom prst="rect">
            <a:avLst/>
          </a:prstGeom>
        </p:spPr>
      </p:pic>
    </p:spTree>
    <p:extLst>
      <p:ext uri="{BB962C8B-B14F-4D97-AF65-F5344CB8AC3E}">
        <p14:creationId xmlns:p14="http://schemas.microsoft.com/office/powerpoint/2010/main" val="19705394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ángulo 8">
            <a:extLst>
              <a:ext uri="{FF2B5EF4-FFF2-40B4-BE49-F238E27FC236}">
                <a16:creationId xmlns:a16="http://schemas.microsoft.com/office/drawing/2014/main" id="{F4F57220-B84C-4927-9391-77B8F745BE2B}"/>
              </a:ext>
            </a:extLst>
          </p:cNvPr>
          <p:cNvSpPr/>
          <p:nvPr/>
        </p:nvSpPr>
        <p:spPr>
          <a:xfrm>
            <a:off x="-16778" y="1"/>
            <a:ext cx="9180000" cy="68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11" name="Imagen 110" descr="Patrón de fondo&#10;&#10;Descripción generada automáticamente">
            <a:extLst>
              <a:ext uri="{FF2B5EF4-FFF2-40B4-BE49-F238E27FC236}">
                <a16:creationId xmlns:a16="http://schemas.microsoft.com/office/drawing/2014/main" id="{50891C4E-3AB6-4491-8839-310F2169C3ED}"/>
              </a:ext>
            </a:extLst>
          </p:cNvPr>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flipV="1">
            <a:off x="-14510" y="775733"/>
            <a:ext cx="9158510" cy="6100268"/>
          </a:xfrm>
          <a:prstGeom prst="rect">
            <a:avLst/>
          </a:prstGeom>
        </p:spPr>
      </p:pic>
      <p:sp>
        <p:nvSpPr>
          <p:cNvPr id="112" name="Rectángulo 111">
            <a:extLst>
              <a:ext uri="{FF2B5EF4-FFF2-40B4-BE49-F238E27FC236}">
                <a16:creationId xmlns:a16="http://schemas.microsoft.com/office/drawing/2014/main" id="{A7431150-0C4E-45AA-87D3-51E8137648FA}"/>
              </a:ext>
            </a:extLst>
          </p:cNvPr>
          <p:cNvSpPr/>
          <p:nvPr/>
        </p:nvSpPr>
        <p:spPr>
          <a:xfrm>
            <a:off x="-15438" y="948581"/>
            <a:ext cx="9178659" cy="5927420"/>
          </a:xfrm>
          <a:prstGeom prst="rect">
            <a:avLst/>
          </a:prstGeom>
          <a:gradFill flip="none" rotWithShape="1">
            <a:gsLst>
              <a:gs pos="19000">
                <a:schemeClr val="bg1"/>
              </a:gs>
              <a:gs pos="53000">
                <a:schemeClr val="bg1">
                  <a:alpha val="0"/>
                </a:schemeClr>
              </a:gs>
              <a:gs pos="100000">
                <a:schemeClr val="bg1">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7" name="Objeto 6" hidden="1">
            <a:extLst>
              <a:ext uri="{FF2B5EF4-FFF2-40B4-BE49-F238E27FC236}">
                <a16:creationId xmlns:a16="http://schemas.microsoft.com/office/drawing/2014/main" id="{18900B29-E110-41DE-8955-7E23EBD1F7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395" imgH="394" progId="TCLayout.ActiveDocument.1">
                  <p:embed/>
                </p:oleObj>
              </mc:Choice>
              <mc:Fallback>
                <p:oleObj name="Diapositiva de think-cell" r:id="rId6" imgW="395" imgH="394" progId="TCLayout.ActiveDocument.1">
                  <p:embed/>
                  <p:pic>
                    <p:nvPicPr>
                      <p:cNvPr id="7" name="Objeto 6" hidden="1">
                        <a:extLst>
                          <a:ext uri="{FF2B5EF4-FFF2-40B4-BE49-F238E27FC236}">
                            <a16:creationId xmlns:a16="http://schemas.microsoft.com/office/drawing/2014/main" id="{18900B29-E110-41DE-8955-7E23EBD1F72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0" name="Forma libre: forma 319">
            <a:extLst>
              <a:ext uri="{FF2B5EF4-FFF2-40B4-BE49-F238E27FC236}">
                <a16:creationId xmlns:a16="http://schemas.microsoft.com/office/drawing/2014/main" id="{0934F319-9085-477D-88EA-52CE366F506F}"/>
              </a:ext>
            </a:extLst>
          </p:cNvPr>
          <p:cNvSpPr/>
          <p:nvPr/>
        </p:nvSpPr>
        <p:spPr>
          <a:xfrm>
            <a:off x="1456332" y="2739356"/>
            <a:ext cx="6264116" cy="3173835"/>
          </a:xfrm>
          <a:custGeom>
            <a:avLst/>
            <a:gdLst>
              <a:gd name="connsiteX0" fmla="*/ 4502087 w 6264116"/>
              <a:gd name="connsiteY0" fmla="*/ 1672685 h 4571809"/>
              <a:gd name="connsiteX1" fmla="*/ 6252591 w 6264116"/>
              <a:gd name="connsiteY1" fmla="*/ 1981295 h 4571809"/>
              <a:gd name="connsiteX2" fmla="*/ 6264116 w 6264116"/>
              <a:gd name="connsiteY2" fmla="*/ 1915668 h 4571809"/>
              <a:gd name="connsiteX3" fmla="*/ 4513612 w 6264116"/>
              <a:gd name="connsiteY3" fmla="*/ 1607058 h 4571809"/>
              <a:gd name="connsiteX4" fmla="*/ 4529328 w 6264116"/>
              <a:gd name="connsiteY4" fmla="*/ 1397318 h 4571809"/>
              <a:gd name="connsiteX5" fmla="*/ 3132106 w 6264116"/>
              <a:gd name="connsiteY5" fmla="*/ 0 h 4571809"/>
              <a:gd name="connsiteX6" fmla="*/ 1734788 w 6264116"/>
              <a:gd name="connsiteY6" fmla="*/ 1397318 h 4571809"/>
              <a:gd name="connsiteX7" fmla="*/ 1750504 w 6264116"/>
              <a:gd name="connsiteY7" fmla="*/ 1607058 h 4571809"/>
              <a:gd name="connsiteX8" fmla="*/ 0 w 6264116"/>
              <a:gd name="connsiteY8" fmla="*/ 1915668 h 4571809"/>
              <a:gd name="connsiteX9" fmla="*/ 11621 w 6264116"/>
              <a:gd name="connsiteY9" fmla="*/ 1981295 h 4571809"/>
              <a:gd name="connsiteX10" fmla="*/ 1762030 w 6264116"/>
              <a:gd name="connsiteY10" fmla="*/ 1672685 h 4571809"/>
              <a:gd name="connsiteX11" fmla="*/ 2209038 w 6264116"/>
              <a:gd name="connsiteY11" fmla="*/ 2445353 h 4571809"/>
              <a:gd name="connsiteX12" fmla="*/ 1066038 w 6264116"/>
              <a:gd name="connsiteY12" fmla="*/ 3807619 h 4571809"/>
              <a:gd name="connsiteX13" fmla="*/ 1117092 w 6264116"/>
              <a:gd name="connsiteY13" fmla="*/ 3850481 h 4571809"/>
              <a:gd name="connsiteX14" fmla="*/ 2260092 w 6264116"/>
              <a:gd name="connsiteY14" fmla="*/ 2488311 h 4571809"/>
              <a:gd name="connsiteX15" fmla="*/ 3098673 w 6264116"/>
              <a:gd name="connsiteY15" fmla="*/ 2794159 h 4571809"/>
              <a:gd name="connsiteX16" fmla="*/ 3098673 w 6264116"/>
              <a:gd name="connsiteY16" fmla="*/ 4571810 h 4571809"/>
              <a:gd name="connsiteX17" fmla="*/ 3165348 w 6264116"/>
              <a:gd name="connsiteY17" fmla="*/ 4571810 h 4571809"/>
              <a:gd name="connsiteX18" fmla="*/ 3165348 w 6264116"/>
              <a:gd name="connsiteY18" fmla="*/ 2794159 h 4571809"/>
              <a:gd name="connsiteX19" fmla="*/ 4003929 w 6264116"/>
              <a:gd name="connsiteY19" fmla="*/ 2488311 h 4571809"/>
              <a:gd name="connsiteX20" fmla="*/ 5146929 w 6264116"/>
              <a:gd name="connsiteY20" fmla="*/ 3850481 h 4571809"/>
              <a:gd name="connsiteX21" fmla="*/ 5197983 w 6264116"/>
              <a:gd name="connsiteY21" fmla="*/ 3807619 h 4571809"/>
              <a:gd name="connsiteX22" fmla="*/ 4055078 w 6264116"/>
              <a:gd name="connsiteY22" fmla="*/ 2445353 h 4571809"/>
              <a:gd name="connsiteX23" fmla="*/ 4502087 w 6264116"/>
              <a:gd name="connsiteY23" fmla="*/ 1672685 h 4571809"/>
              <a:gd name="connsiteX24" fmla="*/ 3132106 w 6264116"/>
              <a:gd name="connsiteY24" fmla="*/ 2727865 h 4571809"/>
              <a:gd name="connsiteX25" fmla="*/ 1801463 w 6264116"/>
              <a:gd name="connsiteY25" fmla="*/ 1397222 h 4571809"/>
              <a:gd name="connsiteX26" fmla="*/ 3132106 w 6264116"/>
              <a:gd name="connsiteY26" fmla="*/ 66675 h 4571809"/>
              <a:gd name="connsiteX27" fmla="*/ 4462748 w 6264116"/>
              <a:gd name="connsiteY27" fmla="*/ 1397318 h 4571809"/>
              <a:gd name="connsiteX28" fmla="*/ 3132106 w 6264116"/>
              <a:gd name="connsiteY28" fmla="*/ 2727865 h 4571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264116" h="4571809">
                <a:moveTo>
                  <a:pt x="4502087" y="1672685"/>
                </a:moveTo>
                <a:lnTo>
                  <a:pt x="6252591" y="1981295"/>
                </a:lnTo>
                <a:lnTo>
                  <a:pt x="6264116" y="1915668"/>
                </a:lnTo>
                <a:lnTo>
                  <a:pt x="4513612" y="1607058"/>
                </a:lnTo>
                <a:cubicBezTo>
                  <a:pt x="4523994" y="1538668"/>
                  <a:pt x="4529328" y="1468564"/>
                  <a:pt x="4529328" y="1397318"/>
                </a:cubicBezTo>
                <a:cubicBezTo>
                  <a:pt x="4529423" y="626840"/>
                  <a:pt x="3902583" y="0"/>
                  <a:pt x="3132106" y="0"/>
                </a:cubicBezTo>
                <a:cubicBezTo>
                  <a:pt x="2361629" y="0"/>
                  <a:pt x="1734788" y="626840"/>
                  <a:pt x="1734788" y="1397318"/>
                </a:cubicBezTo>
                <a:cubicBezTo>
                  <a:pt x="1734788" y="1468564"/>
                  <a:pt x="1740218" y="1538668"/>
                  <a:pt x="1750504" y="1607058"/>
                </a:cubicBezTo>
                <a:lnTo>
                  <a:pt x="0" y="1915668"/>
                </a:lnTo>
                <a:lnTo>
                  <a:pt x="11621" y="1981295"/>
                </a:lnTo>
                <a:lnTo>
                  <a:pt x="1762030" y="1672685"/>
                </a:lnTo>
                <a:cubicBezTo>
                  <a:pt x="1823276" y="1977676"/>
                  <a:pt x="1984058" y="2247043"/>
                  <a:pt x="2209038" y="2445353"/>
                </a:cubicBezTo>
                <a:lnTo>
                  <a:pt x="1066038" y="3807619"/>
                </a:lnTo>
                <a:lnTo>
                  <a:pt x="1117092" y="3850481"/>
                </a:lnTo>
                <a:lnTo>
                  <a:pt x="2260092" y="2488311"/>
                </a:lnTo>
                <a:cubicBezTo>
                  <a:pt x="2491169" y="2673382"/>
                  <a:pt x="2782062" y="2786729"/>
                  <a:pt x="3098673" y="2794159"/>
                </a:cubicBezTo>
                <a:lnTo>
                  <a:pt x="3098673" y="4571810"/>
                </a:lnTo>
                <a:lnTo>
                  <a:pt x="3165348" y="4571810"/>
                </a:lnTo>
                <a:lnTo>
                  <a:pt x="3165348" y="2794159"/>
                </a:lnTo>
                <a:cubicBezTo>
                  <a:pt x="3481959" y="2786729"/>
                  <a:pt x="3772853" y="2673382"/>
                  <a:pt x="4003929" y="2488311"/>
                </a:cubicBezTo>
                <a:lnTo>
                  <a:pt x="5146929" y="3850481"/>
                </a:lnTo>
                <a:lnTo>
                  <a:pt x="5197983" y="3807619"/>
                </a:lnTo>
                <a:lnTo>
                  <a:pt x="4055078" y="2445353"/>
                </a:lnTo>
                <a:cubicBezTo>
                  <a:pt x="4279964" y="2247043"/>
                  <a:pt x="4440841" y="1977676"/>
                  <a:pt x="4502087" y="1672685"/>
                </a:cubicBezTo>
                <a:close/>
                <a:moveTo>
                  <a:pt x="3132106" y="2727865"/>
                </a:moveTo>
                <a:cubicBezTo>
                  <a:pt x="2398395" y="2727865"/>
                  <a:pt x="1801463" y="2130933"/>
                  <a:pt x="1801463" y="1397222"/>
                </a:cubicBezTo>
                <a:cubicBezTo>
                  <a:pt x="1801463" y="663607"/>
                  <a:pt x="2398395" y="66675"/>
                  <a:pt x="3132106" y="66675"/>
                </a:cubicBezTo>
                <a:cubicBezTo>
                  <a:pt x="3865817" y="66675"/>
                  <a:pt x="4462748" y="663607"/>
                  <a:pt x="4462748" y="1397318"/>
                </a:cubicBezTo>
                <a:cubicBezTo>
                  <a:pt x="4462748" y="2130933"/>
                  <a:pt x="3865817" y="2727865"/>
                  <a:pt x="3132106" y="2727865"/>
                </a:cubicBezTo>
                <a:close/>
              </a:path>
            </a:pathLst>
          </a:custGeom>
          <a:solidFill>
            <a:srgbClr val="D8E5E5"/>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6" name="Rectángulo 5" hidden="1">
            <a:extLst>
              <a:ext uri="{FF2B5EF4-FFF2-40B4-BE49-F238E27FC236}">
                <a16:creationId xmlns:a16="http://schemas.microsoft.com/office/drawing/2014/main" id="{BF00B75E-F76D-4EB1-B52C-00AF933E593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4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81" name="Imagen 80">
            <a:extLst>
              <a:ext uri="{FF2B5EF4-FFF2-40B4-BE49-F238E27FC236}">
                <a16:creationId xmlns:a16="http://schemas.microsoft.com/office/drawing/2014/main" id="{ECD539C1-CA2E-4630-A4B2-EA1BB4EE11E3}"/>
              </a:ext>
            </a:extLst>
          </p:cNvPr>
          <p:cNvPicPr>
            <a:picLocks noChangeAspect="1"/>
          </p:cNvPicPr>
          <p:nvPr/>
        </p:nvPicPr>
        <p:blipFill>
          <a:blip r:embed="rId8">
            <a:alphaModFix amt="99000"/>
          </a:blip>
          <a:stretch>
            <a:fillRect/>
          </a:stretch>
        </p:blipFill>
        <p:spPr>
          <a:xfrm>
            <a:off x="3729957" y="774573"/>
            <a:ext cx="1684087" cy="1576798"/>
          </a:xfrm>
          <a:prstGeom prst="rect">
            <a:avLst/>
          </a:prstGeom>
        </p:spPr>
      </p:pic>
      <p:sp>
        <p:nvSpPr>
          <p:cNvPr id="82" name="CuadroTexto 81">
            <a:extLst>
              <a:ext uri="{FF2B5EF4-FFF2-40B4-BE49-F238E27FC236}">
                <a16:creationId xmlns:a16="http://schemas.microsoft.com/office/drawing/2014/main" id="{27EB21AB-17F8-4171-8E7A-B9987EFB05ED}"/>
              </a:ext>
            </a:extLst>
          </p:cNvPr>
          <p:cNvSpPr txBox="1"/>
          <p:nvPr/>
        </p:nvSpPr>
        <p:spPr>
          <a:xfrm>
            <a:off x="226454" y="-39367"/>
            <a:ext cx="8370897" cy="769441"/>
          </a:xfrm>
          <a:prstGeom prst="rect">
            <a:avLst/>
          </a:prstGeom>
          <a:noFill/>
        </p:spPr>
        <p:txBody>
          <a:bodyPr wrap="square">
            <a:spAutoFit/>
          </a:bodyPr>
          <a:lstStyle/>
          <a:p>
            <a:pPr algn="ctr"/>
            <a:r>
              <a:rPr lang="es-ES" sz="4400" b="1" spc="600" dirty="0"/>
              <a:t>ROMPER</a:t>
            </a:r>
          </a:p>
        </p:txBody>
      </p:sp>
      <p:grpSp>
        <p:nvGrpSpPr>
          <p:cNvPr id="83" name="Grupo 82">
            <a:extLst>
              <a:ext uri="{FF2B5EF4-FFF2-40B4-BE49-F238E27FC236}">
                <a16:creationId xmlns:a16="http://schemas.microsoft.com/office/drawing/2014/main" id="{A05C1E31-498B-46E5-B114-4DADF842E531}"/>
              </a:ext>
            </a:extLst>
          </p:cNvPr>
          <p:cNvGrpSpPr/>
          <p:nvPr/>
        </p:nvGrpSpPr>
        <p:grpSpPr>
          <a:xfrm rot="358384">
            <a:off x="526472" y="1003586"/>
            <a:ext cx="3089884" cy="1430169"/>
            <a:chOff x="1874035" y="1900215"/>
            <a:chExt cx="3211156" cy="1486301"/>
          </a:xfrm>
          <a:solidFill>
            <a:schemeClr val="accent4"/>
          </a:solidFill>
        </p:grpSpPr>
        <p:grpSp>
          <p:nvGrpSpPr>
            <p:cNvPr id="84" name="Gráfico 3">
              <a:extLst>
                <a:ext uri="{FF2B5EF4-FFF2-40B4-BE49-F238E27FC236}">
                  <a16:creationId xmlns:a16="http://schemas.microsoft.com/office/drawing/2014/main" id="{482368DC-993A-44E5-8284-19A04CA44409}"/>
                </a:ext>
              </a:extLst>
            </p:cNvPr>
            <p:cNvGrpSpPr/>
            <p:nvPr/>
          </p:nvGrpSpPr>
          <p:grpSpPr>
            <a:xfrm rot="483077">
              <a:off x="1874035" y="1900215"/>
              <a:ext cx="2826696" cy="1486301"/>
              <a:chOff x="846227" y="1954596"/>
              <a:chExt cx="3308990" cy="1739895"/>
            </a:xfrm>
            <a:grpFill/>
          </p:grpSpPr>
          <p:sp>
            <p:nvSpPr>
              <p:cNvPr id="87" name="Forma libre: forma 86">
                <a:extLst>
                  <a:ext uri="{FF2B5EF4-FFF2-40B4-BE49-F238E27FC236}">
                    <a16:creationId xmlns:a16="http://schemas.microsoft.com/office/drawing/2014/main" id="{0D9661B7-59F3-4065-8EB9-FD384E1119CD}"/>
                  </a:ext>
                </a:extLst>
              </p:cNvPr>
              <p:cNvSpPr/>
              <p:nvPr/>
            </p:nvSpPr>
            <p:spPr>
              <a:xfrm>
                <a:off x="3652679" y="2542003"/>
                <a:ext cx="11429" cy="13716"/>
              </a:xfrm>
              <a:custGeom>
                <a:avLst/>
                <a:gdLst>
                  <a:gd name="connsiteX0" fmla="*/ 0 w 11429"/>
                  <a:gd name="connsiteY0" fmla="*/ 0 h 13716"/>
                  <a:gd name="connsiteX1" fmla="*/ 11430 w 11429"/>
                  <a:gd name="connsiteY1" fmla="*/ 13716 h 13716"/>
                  <a:gd name="connsiteX2" fmla="*/ 286 w 11429"/>
                  <a:gd name="connsiteY2" fmla="*/ 0 h 13716"/>
                  <a:gd name="connsiteX3" fmla="*/ 0 w 11429"/>
                  <a:gd name="connsiteY3" fmla="*/ 0 h 13716"/>
                </a:gdLst>
                <a:ahLst/>
                <a:cxnLst>
                  <a:cxn ang="0">
                    <a:pos x="connsiteX0" y="connsiteY0"/>
                  </a:cxn>
                  <a:cxn ang="0">
                    <a:pos x="connsiteX1" y="connsiteY1"/>
                  </a:cxn>
                  <a:cxn ang="0">
                    <a:pos x="connsiteX2" y="connsiteY2"/>
                  </a:cxn>
                  <a:cxn ang="0">
                    <a:pos x="connsiteX3" y="connsiteY3"/>
                  </a:cxn>
                </a:cxnLst>
                <a:rect l="l" t="t" r="r" b="b"/>
                <a:pathLst>
                  <a:path w="11429" h="13716">
                    <a:moveTo>
                      <a:pt x="0" y="0"/>
                    </a:moveTo>
                    <a:cubicBezTo>
                      <a:pt x="3715" y="4763"/>
                      <a:pt x="7429" y="9335"/>
                      <a:pt x="11430" y="13716"/>
                    </a:cubicBezTo>
                    <a:cubicBezTo>
                      <a:pt x="7620" y="9239"/>
                      <a:pt x="3810" y="4763"/>
                      <a:pt x="286" y="0"/>
                    </a:cubicBezTo>
                    <a:lnTo>
                      <a:pt x="0" y="0"/>
                    </a:lnTo>
                    <a:close/>
                  </a:path>
                </a:pathLst>
              </a:custGeom>
              <a:grpFill/>
              <a:ln w="9525" cap="flat">
                <a:noFill/>
                <a:prstDash val="solid"/>
                <a:miter/>
              </a:ln>
            </p:spPr>
            <p:txBody>
              <a:bodyPr rtlCol="0" anchor="ctr"/>
              <a:lstStyle/>
              <a:p>
                <a:endParaRPr lang="es-ES" sz="1600"/>
              </a:p>
            </p:txBody>
          </p:sp>
          <p:sp>
            <p:nvSpPr>
              <p:cNvPr id="88" name="Forma libre: forma 87">
                <a:extLst>
                  <a:ext uri="{FF2B5EF4-FFF2-40B4-BE49-F238E27FC236}">
                    <a16:creationId xmlns:a16="http://schemas.microsoft.com/office/drawing/2014/main" id="{B911C039-F80A-451F-82F5-EF120521BD3E}"/>
                  </a:ext>
                </a:extLst>
              </p:cNvPr>
              <p:cNvSpPr/>
              <p:nvPr/>
            </p:nvSpPr>
            <p:spPr>
              <a:xfrm>
                <a:off x="3461607" y="1954596"/>
                <a:ext cx="615357" cy="342233"/>
              </a:xfrm>
              <a:custGeom>
                <a:avLst/>
                <a:gdLst>
                  <a:gd name="connsiteX0" fmla="*/ 593598 w 615357"/>
                  <a:gd name="connsiteY0" fmla="*/ 0 h 342233"/>
                  <a:gd name="connsiteX1" fmla="*/ 567976 w 615357"/>
                  <a:gd name="connsiteY1" fmla="*/ 163925 h 342233"/>
                  <a:gd name="connsiteX2" fmla="*/ 321469 w 615357"/>
                  <a:gd name="connsiteY2" fmla="*/ 193262 h 342233"/>
                  <a:gd name="connsiteX3" fmla="*/ 157067 w 615357"/>
                  <a:gd name="connsiteY3" fmla="*/ 322802 h 342233"/>
                  <a:gd name="connsiteX4" fmla="*/ 155543 w 615357"/>
                  <a:gd name="connsiteY4" fmla="*/ 326326 h 342233"/>
                  <a:gd name="connsiteX5" fmla="*/ 0 w 615357"/>
                  <a:gd name="connsiteY5" fmla="*/ 342233 h 342233"/>
                  <a:gd name="connsiteX6" fmla="*/ 667 w 615357"/>
                  <a:gd name="connsiteY6" fmla="*/ 338709 h 342233"/>
                  <a:gd name="connsiteX7" fmla="*/ 307658 w 615357"/>
                  <a:gd name="connsiteY7" fmla="*/ 29146 h 342233"/>
                  <a:gd name="connsiteX8" fmla="*/ 593598 w 615357"/>
                  <a:gd name="connsiteY8" fmla="*/ 0 h 34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5357" h="342233">
                    <a:moveTo>
                      <a:pt x="593598" y="0"/>
                    </a:moveTo>
                    <a:cubicBezTo>
                      <a:pt x="656082" y="86773"/>
                      <a:pt x="563690" y="109156"/>
                      <a:pt x="567976" y="163925"/>
                    </a:cubicBezTo>
                    <a:lnTo>
                      <a:pt x="321469" y="193262"/>
                    </a:lnTo>
                    <a:cubicBezTo>
                      <a:pt x="247460" y="200787"/>
                      <a:pt x="186976" y="252031"/>
                      <a:pt x="157067" y="322802"/>
                    </a:cubicBezTo>
                    <a:cubicBezTo>
                      <a:pt x="156591" y="323945"/>
                      <a:pt x="156020" y="325184"/>
                      <a:pt x="155543" y="326326"/>
                    </a:cubicBezTo>
                    <a:lnTo>
                      <a:pt x="0" y="342233"/>
                    </a:lnTo>
                    <a:cubicBezTo>
                      <a:pt x="286" y="340995"/>
                      <a:pt x="381" y="339852"/>
                      <a:pt x="667" y="338709"/>
                    </a:cubicBezTo>
                    <a:cubicBezTo>
                      <a:pt x="31814" y="173926"/>
                      <a:pt x="152305" y="45053"/>
                      <a:pt x="307658" y="29146"/>
                    </a:cubicBezTo>
                    <a:lnTo>
                      <a:pt x="593598" y="0"/>
                    </a:lnTo>
                    <a:close/>
                  </a:path>
                </a:pathLst>
              </a:custGeom>
              <a:grpFill/>
              <a:ln w="9525" cap="flat">
                <a:noFill/>
                <a:prstDash val="solid"/>
                <a:miter/>
              </a:ln>
            </p:spPr>
            <p:txBody>
              <a:bodyPr rtlCol="0" anchor="ctr"/>
              <a:lstStyle/>
              <a:p>
                <a:endParaRPr lang="es-ES" sz="1600"/>
              </a:p>
            </p:txBody>
          </p:sp>
          <p:sp>
            <p:nvSpPr>
              <p:cNvPr id="89" name="Forma libre: forma 88">
                <a:extLst>
                  <a:ext uri="{FF2B5EF4-FFF2-40B4-BE49-F238E27FC236}">
                    <a16:creationId xmlns:a16="http://schemas.microsoft.com/office/drawing/2014/main" id="{246EC134-954C-449C-8AF2-6BE605276F39}"/>
                  </a:ext>
                </a:extLst>
              </p:cNvPr>
              <p:cNvSpPr/>
              <p:nvPr/>
            </p:nvSpPr>
            <p:spPr>
              <a:xfrm>
                <a:off x="3490277" y="2541907"/>
                <a:ext cx="664940" cy="252041"/>
              </a:xfrm>
              <a:custGeom>
                <a:avLst/>
                <a:gdLst>
                  <a:gd name="connsiteX0" fmla="*/ 344996 w 664940"/>
                  <a:gd name="connsiteY0" fmla="*/ 86487 h 252041"/>
                  <a:gd name="connsiteX1" fmla="*/ 173831 w 664940"/>
                  <a:gd name="connsiteY1" fmla="*/ 13716 h 252041"/>
                  <a:gd name="connsiteX2" fmla="*/ 162401 w 664940"/>
                  <a:gd name="connsiteY2" fmla="*/ 0 h 252041"/>
                  <a:gd name="connsiteX3" fmla="*/ 0 w 664940"/>
                  <a:gd name="connsiteY3" fmla="*/ 16574 h 252041"/>
                  <a:gd name="connsiteX4" fmla="*/ 63151 w 664940"/>
                  <a:gd name="connsiteY4" fmla="*/ 121825 h 252041"/>
                  <a:gd name="connsiteX5" fmla="*/ 358712 w 664940"/>
                  <a:gd name="connsiteY5" fmla="*/ 250412 h 252041"/>
                  <a:gd name="connsiteX6" fmla="*/ 664940 w 664940"/>
                  <a:gd name="connsiteY6" fmla="*/ 215837 h 252041"/>
                  <a:gd name="connsiteX7" fmla="*/ 612648 w 664940"/>
                  <a:gd name="connsiteY7" fmla="*/ 59055 h 252041"/>
                  <a:gd name="connsiteX8" fmla="*/ 344996 w 664940"/>
                  <a:gd name="connsiteY8" fmla="*/ 86487 h 25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940" h="252041">
                    <a:moveTo>
                      <a:pt x="344996" y="86487"/>
                    </a:moveTo>
                    <a:cubicBezTo>
                      <a:pt x="279559" y="93154"/>
                      <a:pt x="217551" y="64294"/>
                      <a:pt x="173831" y="13716"/>
                    </a:cubicBezTo>
                    <a:cubicBezTo>
                      <a:pt x="169831" y="9334"/>
                      <a:pt x="166021" y="4763"/>
                      <a:pt x="162401" y="0"/>
                    </a:cubicBezTo>
                    <a:lnTo>
                      <a:pt x="0" y="16574"/>
                    </a:lnTo>
                    <a:cubicBezTo>
                      <a:pt x="16383" y="55436"/>
                      <a:pt x="37814" y="90773"/>
                      <a:pt x="63151" y="121825"/>
                    </a:cubicBezTo>
                    <a:cubicBezTo>
                      <a:pt x="137731" y="210693"/>
                      <a:pt x="245173" y="262033"/>
                      <a:pt x="358712" y="250412"/>
                    </a:cubicBezTo>
                    <a:lnTo>
                      <a:pt x="664940" y="215837"/>
                    </a:lnTo>
                    <a:cubicBezTo>
                      <a:pt x="659225" y="161163"/>
                      <a:pt x="616934" y="113633"/>
                      <a:pt x="612648" y="59055"/>
                    </a:cubicBezTo>
                    <a:lnTo>
                      <a:pt x="344996" y="86487"/>
                    </a:lnTo>
                    <a:close/>
                  </a:path>
                </a:pathLst>
              </a:custGeom>
              <a:grpFill/>
              <a:ln w="9525" cap="flat">
                <a:noFill/>
                <a:prstDash val="solid"/>
                <a:miter/>
              </a:ln>
            </p:spPr>
            <p:txBody>
              <a:bodyPr rtlCol="0" anchor="ctr"/>
              <a:lstStyle/>
              <a:p>
                <a:endParaRPr lang="es-ES" sz="1600"/>
              </a:p>
            </p:txBody>
          </p:sp>
          <p:sp>
            <p:nvSpPr>
              <p:cNvPr id="90" name="Forma libre: forma 89">
                <a:extLst>
                  <a:ext uri="{FF2B5EF4-FFF2-40B4-BE49-F238E27FC236}">
                    <a16:creationId xmlns:a16="http://schemas.microsoft.com/office/drawing/2014/main" id="{506D0371-FB2E-4286-894D-12BF92D8F8E2}"/>
                  </a:ext>
                </a:extLst>
              </p:cNvPr>
              <p:cNvSpPr/>
              <p:nvPr/>
            </p:nvSpPr>
            <p:spPr>
              <a:xfrm>
                <a:off x="2915135" y="2311260"/>
                <a:ext cx="949210" cy="250601"/>
              </a:xfrm>
              <a:custGeom>
                <a:avLst/>
                <a:gdLst>
                  <a:gd name="connsiteX0" fmla="*/ 866988 w 949210"/>
                  <a:gd name="connsiteY0" fmla="*/ 333 h 250601"/>
                  <a:gd name="connsiteX1" fmla="*/ 65078 w 949210"/>
                  <a:gd name="connsiteY1" fmla="*/ 82343 h 250601"/>
                  <a:gd name="connsiteX2" fmla="*/ 57363 w 949210"/>
                  <a:gd name="connsiteY2" fmla="*/ 83581 h 250601"/>
                  <a:gd name="connsiteX3" fmla="*/ 499 w 949210"/>
                  <a:gd name="connsiteY3" fmla="*/ 173783 h 250601"/>
                  <a:gd name="connsiteX4" fmla="*/ 82223 w 949210"/>
                  <a:gd name="connsiteY4" fmla="*/ 250269 h 250601"/>
                  <a:gd name="connsiteX5" fmla="*/ 884133 w 949210"/>
                  <a:gd name="connsiteY5" fmla="*/ 168258 h 250601"/>
                  <a:gd name="connsiteX6" fmla="*/ 891848 w 949210"/>
                  <a:gd name="connsiteY6" fmla="*/ 167020 h 250601"/>
                  <a:gd name="connsiteX7" fmla="*/ 948712 w 949210"/>
                  <a:gd name="connsiteY7" fmla="*/ 76818 h 250601"/>
                  <a:gd name="connsiteX8" fmla="*/ 866988 w 949210"/>
                  <a:gd name="connsiteY8" fmla="*/ 333 h 250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49210" h="250601">
                    <a:moveTo>
                      <a:pt x="866988" y="333"/>
                    </a:moveTo>
                    <a:lnTo>
                      <a:pt x="65078" y="82343"/>
                    </a:lnTo>
                    <a:cubicBezTo>
                      <a:pt x="62411" y="82629"/>
                      <a:pt x="59839" y="83010"/>
                      <a:pt x="57363" y="83581"/>
                    </a:cubicBezTo>
                    <a:cubicBezTo>
                      <a:pt x="21073" y="91773"/>
                      <a:pt x="-3883" y="130444"/>
                      <a:pt x="499" y="173783"/>
                    </a:cubicBezTo>
                    <a:cubicBezTo>
                      <a:pt x="5261" y="220170"/>
                      <a:pt x="41837" y="254364"/>
                      <a:pt x="82223" y="250269"/>
                    </a:cubicBezTo>
                    <a:lnTo>
                      <a:pt x="884133" y="168258"/>
                    </a:lnTo>
                    <a:cubicBezTo>
                      <a:pt x="886800" y="167973"/>
                      <a:pt x="889371" y="167592"/>
                      <a:pt x="891848" y="167020"/>
                    </a:cubicBezTo>
                    <a:cubicBezTo>
                      <a:pt x="928138" y="158829"/>
                      <a:pt x="953094" y="120157"/>
                      <a:pt x="948712" y="76818"/>
                    </a:cubicBezTo>
                    <a:cubicBezTo>
                      <a:pt x="943950" y="30432"/>
                      <a:pt x="907374" y="-3763"/>
                      <a:pt x="866988" y="333"/>
                    </a:cubicBezTo>
                    <a:close/>
                  </a:path>
                </a:pathLst>
              </a:custGeom>
              <a:grpFill/>
              <a:ln w="9525" cap="flat">
                <a:noFill/>
                <a:prstDash val="solid"/>
                <a:miter/>
              </a:ln>
            </p:spPr>
            <p:txBody>
              <a:bodyPr rtlCol="0" anchor="ctr"/>
              <a:lstStyle/>
              <a:p>
                <a:endParaRPr lang="es-ES" sz="1600" dirty="0"/>
              </a:p>
            </p:txBody>
          </p:sp>
          <p:sp>
            <p:nvSpPr>
              <p:cNvPr id="91" name="Forma libre: forma 90">
                <a:extLst>
                  <a:ext uri="{FF2B5EF4-FFF2-40B4-BE49-F238E27FC236}">
                    <a16:creationId xmlns:a16="http://schemas.microsoft.com/office/drawing/2014/main" id="{FC59F2DC-7BE8-4492-B370-C3DBC7CB677A}"/>
                  </a:ext>
                </a:extLst>
              </p:cNvPr>
              <p:cNvSpPr/>
              <p:nvPr/>
            </p:nvSpPr>
            <p:spPr>
              <a:xfrm>
                <a:off x="846227" y="2705957"/>
                <a:ext cx="1215979" cy="988534"/>
              </a:xfrm>
              <a:custGeom>
                <a:avLst/>
                <a:gdLst>
                  <a:gd name="connsiteX0" fmla="*/ 1214634 w 1215979"/>
                  <a:gd name="connsiteY0" fmla="*/ 403831 h 988534"/>
                  <a:gd name="connsiteX1" fmla="*/ 1063281 w 1215979"/>
                  <a:gd name="connsiteY1" fmla="*/ 460600 h 988534"/>
                  <a:gd name="connsiteX2" fmla="*/ 937361 w 1215979"/>
                  <a:gd name="connsiteY2" fmla="*/ 626716 h 988534"/>
                  <a:gd name="connsiteX3" fmla="*/ 447109 w 1215979"/>
                  <a:gd name="connsiteY3" fmla="*/ 810548 h 988534"/>
                  <a:gd name="connsiteX4" fmla="*/ 167360 w 1215979"/>
                  <a:gd name="connsiteY4" fmla="*/ 659577 h 988534"/>
                  <a:gd name="connsiteX5" fmla="*/ 278802 w 1215979"/>
                  <a:gd name="connsiteY5" fmla="*/ 361826 h 988534"/>
                  <a:gd name="connsiteX6" fmla="*/ 769054 w 1215979"/>
                  <a:gd name="connsiteY6" fmla="*/ 177993 h 988534"/>
                  <a:gd name="connsiteX7" fmla="*/ 967174 w 1215979"/>
                  <a:gd name="connsiteY7" fmla="*/ 215331 h 988534"/>
                  <a:gd name="connsiteX8" fmla="*/ 1120241 w 1215979"/>
                  <a:gd name="connsiteY8" fmla="*/ 157895 h 988534"/>
                  <a:gd name="connsiteX9" fmla="*/ 709713 w 1215979"/>
                  <a:gd name="connsiteY9" fmla="*/ 19973 h 988534"/>
                  <a:gd name="connsiteX10" fmla="*/ 219462 w 1215979"/>
                  <a:gd name="connsiteY10" fmla="*/ 203806 h 988534"/>
                  <a:gd name="connsiteX11" fmla="*/ 29533 w 1215979"/>
                  <a:gd name="connsiteY11" fmla="*/ 711203 h 988534"/>
                  <a:gd name="connsiteX12" fmla="*/ 506259 w 1215979"/>
                  <a:gd name="connsiteY12" fmla="*/ 968568 h 988534"/>
                  <a:gd name="connsiteX13" fmla="*/ 996511 w 1215979"/>
                  <a:gd name="connsiteY13" fmla="*/ 784736 h 988534"/>
                  <a:gd name="connsiteX14" fmla="*/ 1214634 w 1215979"/>
                  <a:gd name="connsiteY14" fmla="*/ 403831 h 988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5979" h="988534">
                    <a:moveTo>
                      <a:pt x="1214634" y="403831"/>
                    </a:moveTo>
                    <a:lnTo>
                      <a:pt x="1063281" y="460600"/>
                    </a:lnTo>
                    <a:cubicBezTo>
                      <a:pt x="1052137" y="536228"/>
                      <a:pt x="1006703" y="600713"/>
                      <a:pt x="937361" y="626716"/>
                    </a:cubicBezTo>
                    <a:lnTo>
                      <a:pt x="447109" y="810548"/>
                    </a:lnTo>
                    <a:cubicBezTo>
                      <a:pt x="339191" y="851030"/>
                      <a:pt x="213747" y="783212"/>
                      <a:pt x="167360" y="659577"/>
                    </a:cubicBezTo>
                    <a:cubicBezTo>
                      <a:pt x="120973" y="535847"/>
                      <a:pt x="170979" y="402307"/>
                      <a:pt x="278802" y="361826"/>
                    </a:cubicBezTo>
                    <a:lnTo>
                      <a:pt x="769054" y="177993"/>
                    </a:lnTo>
                    <a:cubicBezTo>
                      <a:pt x="836015" y="152847"/>
                      <a:pt x="909834" y="169421"/>
                      <a:pt x="967174" y="215331"/>
                    </a:cubicBezTo>
                    <a:lnTo>
                      <a:pt x="1120241" y="157895"/>
                    </a:lnTo>
                    <a:cubicBezTo>
                      <a:pt x="1018895" y="26069"/>
                      <a:pt x="854874" y="-34510"/>
                      <a:pt x="709713" y="19973"/>
                    </a:cubicBezTo>
                    <a:lnTo>
                      <a:pt x="219462" y="203806"/>
                    </a:lnTo>
                    <a:cubicBezTo>
                      <a:pt x="35629" y="272767"/>
                      <a:pt x="-49524" y="500414"/>
                      <a:pt x="29533" y="711203"/>
                    </a:cubicBezTo>
                    <a:cubicBezTo>
                      <a:pt x="108591" y="922086"/>
                      <a:pt x="322427" y="1037529"/>
                      <a:pt x="506259" y="968568"/>
                    </a:cubicBezTo>
                    <a:lnTo>
                      <a:pt x="996511" y="784736"/>
                    </a:lnTo>
                    <a:cubicBezTo>
                      <a:pt x="1143863" y="729491"/>
                      <a:pt x="1227778" y="572423"/>
                      <a:pt x="1214634" y="403831"/>
                    </a:cubicBezTo>
                    <a:close/>
                  </a:path>
                </a:pathLst>
              </a:custGeom>
              <a:grpFill/>
              <a:ln w="9525" cap="flat">
                <a:noFill/>
                <a:prstDash val="solid"/>
                <a:miter/>
              </a:ln>
            </p:spPr>
            <p:txBody>
              <a:bodyPr rtlCol="0" anchor="ctr"/>
              <a:lstStyle/>
              <a:p>
                <a:endParaRPr lang="es-ES" sz="1600"/>
              </a:p>
            </p:txBody>
          </p:sp>
          <p:sp>
            <p:nvSpPr>
              <p:cNvPr id="92" name="Forma libre: forma 91">
                <a:extLst>
                  <a:ext uri="{FF2B5EF4-FFF2-40B4-BE49-F238E27FC236}">
                    <a16:creationId xmlns:a16="http://schemas.microsoft.com/office/drawing/2014/main" id="{2F9ACEF2-B05A-4034-B0B9-73F3F0B77BE6}"/>
                  </a:ext>
                </a:extLst>
              </p:cNvPr>
              <p:cNvSpPr/>
              <p:nvPr/>
            </p:nvSpPr>
            <p:spPr>
              <a:xfrm>
                <a:off x="1661450" y="2680732"/>
                <a:ext cx="884831" cy="499209"/>
              </a:xfrm>
              <a:custGeom>
                <a:avLst/>
                <a:gdLst>
                  <a:gd name="connsiteX0" fmla="*/ 844228 w 884831"/>
                  <a:gd name="connsiteY0" fmla="*/ 159403 h 499209"/>
                  <a:gd name="connsiteX1" fmla="*/ 876232 w 884831"/>
                  <a:gd name="connsiteY1" fmla="*/ 52152 h 499209"/>
                  <a:gd name="connsiteX2" fmla="*/ 774314 w 884831"/>
                  <a:gd name="connsiteY2" fmla="*/ 5860 h 499209"/>
                  <a:gd name="connsiteX3" fmla="*/ 40603 w 884831"/>
                  <a:gd name="connsiteY3" fmla="*/ 339807 h 499209"/>
                  <a:gd name="connsiteX4" fmla="*/ 8599 w 884831"/>
                  <a:gd name="connsiteY4" fmla="*/ 447058 h 499209"/>
                  <a:gd name="connsiteX5" fmla="*/ 110517 w 884831"/>
                  <a:gd name="connsiteY5" fmla="*/ 493350 h 499209"/>
                  <a:gd name="connsiteX6" fmla="*/ 844228 w 884831"/>
                  <a:gd name="connsiteY6" fmla="*/ 159403 h 49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4831" h="499209">
                    <a:moveTo>
                      <a:pt x="844228" y="159403"/>
                    </a:moveTo>
                    <a:cubicBezTo>
                      <a:pt x="881185" y="142544"/>
                      <a:pt x="895567" y="94538"/>
                      <a:pt x="876232" y="52152"/>
                    </a:cubicBezTo>
                    <a:cubicBezTo>
                      <a:pt x="856896" y="9766"/>
                      <a:pt x="811271" y="-10999"/>
                      <a:pt x="774314" y="5860"/>
                    </a:cubicBezTo>
                    <a:lnTo>
                      <a:pt x="40603" y="339807"/>
                    </a:lnTo>
                    <a:cubicBezTo>
                      <a:pt x="3646" y="356666"/>
                      <a:pt x="-10736" y="404672"/>
                      <a:pt x="8599" y="447058"/>
                    </a:cubicBezTo>
                    <a:cubicBezTo>
                      <a:pt x="27935" y="489445"/>
                      <a:pt x="73560" y="510209"/>
                      <a:pt x="110517" y="493350"/>
                    </a:cubicBezTo>
                    <a:lnTo>
                      <a:pt x="844228" y="159403"/>
                    </a:lnTo>
                    <a:close/>
                  </a:path>
                </a:pathLst>
              </a:custGeom>
              <a:grpFill/>
              <a:ln w="9525" cap="flat">
                <a:noFill/>
                <a:prstDash val="solid"/>
                <a:miter/>
              </a:ln>
            </p:spPr>
            <p:txBody>
              <a:bodyPr rtlCol="0" anchor="ctr"/>
              <a:lstStyle/>
              <a:p>
                <a:endParaRPr lang="es-ES" sz="1600"/>
              </a:p>
            </p:txBody>
          </p:sp>
          <p:sp>
            <p:nvSpPr>
              <p:cNvPr id="93" name="Forma libre: forma 92">
                <a:extLst>
                  <a:ext uri="{FF2B5EF4-FFF2-40B4-BE49-F238E27FC236}">
                    <a16:creationId xmlns:a16="http://schemas.microsoft.com/office/drawing/2014/main" id="{CA6AAB34-F4FB-438E-9E9C-6E787161CAB5}"/>
                  </a:ext>
                </a:extLst>
              </p:cNvPr>
              <p:cNvSpPr/>
              <p:nvPr/>
            </p:nvSpPr>
            <p:spPr>
              <a:xfrm>
                <a:off x="2118684" y="2135813"/>
                <a:ext cx="1122895" cy="649553"/>
              </a:xfrm>
              <a:custGeom>
                <a:avLst/>
                <a:gdLst>
                  <a:gd name="connsiteX0" fmla="*/ 151917 w 1122895"/>
                  <a:gd name="connsiteY0" fmla="*/ 580783 h 649553"/>
                  <a:gd name="connsiteX1" fmla="*/ 5518 w 1122895"/>
                  <a:gd name="connsiteY1" fmla="*/ 649554 h 649553"/>
                  <a:gd name="connsiteX2" fmla="*/ 192398 w 1122895"/>
                  <a:gd name="connsiteY2" fmla="*/ 252361 h 649553"/>
                  <a:gd name="connsiteX3" fmla="*/ 666363 w 1122895"/>
                  <a:gd name="connsiteY3" fmla="*/ 29762 h 649553"/>
                  <a:gd name="connsiteX4" fmla="*/ 965733 w 1122895"/>
                  <a:gd name="connsiteY4" fmla="*/ 41192 h 649553"/>
                  <a:gd name="connsiteX5" fmla="*/ 1099369 w 1122895"/>
                  <a:gd name="connsiteY5" fmla="*/ 142824 h 649553"/>
                  <a:gd name="connsiteX6" fmla="*/ 1095464 w 1122895"/>
                  <a:gd name="connsiteY6" fmla="*/ 144538 h 649553"/>
                  <a:gd name="connsiteX7" fmla="*/ 1122896 w 1122895"/>
                  <a:gd name="connsiteY7" fmla="*/ 180162 h 649553"/>
                  <a:gd name="connsiteX8" fmla="*/ 932015 w 1122895"/>
                  <a:gd name="connsiteY8" fmla="*/ 199783 h 649553"/>
                  <a:gd name="connsiteX9" fmla="*/ 921633 w 1122895"/>
                  <a:gd name="connsiteY9" fmla="*/ 193497 h 649553"/>
                  <a:gd name="connsiteX10" fmla="*/ 750278 w 1122895"/>
                  <a:gd name="connsiteY10" fmla="*/ 186925 h 649553"/>
                  <a:gd name="connsiteX11" fmla="*/ 273742 w 1122895"/>
                  <a:gd name="connsiteY11" fmla="*/ 403809 h 649553"/>
                  <a:gd name="connsiteX12" fmla="*/ 160013 w 1122895"/>
                  <a:gd name="connsiteY12" fmla="*/ 570401 h 649553"/>
                  <a:gd name="connsiteX13" fmla="*/ 152584 w 1122895"/>
                  <a:gd name="connsiteY13" fmla="*/ 573830 h 649553"/>
                  <a:gd name="connsiteX14" fmla="*/ 151917 w 1122895"/>
                  <a:gd name="connsiteY14" fmla="*/ 580783 h 649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2895" h="649553">
                    <a:moveTo>
                      <a:pt x="151917" y="580783"/>
                    </a:moveTo>
                    <a:lnTo>
                      <a:pt x="5518" y="649554"/>
                    </a:lnTo>
                    <a:cubicBezTo>
                      <a:pt x="-21152" y="482485"/>
                      <a:pt x="50095" y="319227"/>
                      <a:pt x="192398" y="252361"/>
                    </a:cubicBezTo>
                    <a:lnTo>
                      <a:pt x="666363" y="29762"/>
                    </a:lnTo>
                    <a:cubicBezTo>
                      <a:pt x="762089" y="-15196"/>
                      <a:pt x="870864" y="-7481"/>
                      <a:pt x="965733" y="41192"/>
                    </a:cubicBezTo>
                    <a:cubicBezTo>
                      <a:pt x="1014977" y="64719"/>
                      <a:pt x="1060698" y="99104"/>
                      <a:pt x="1099369" y="142824"/>
                    </a:cubicBezTo>
                    <a:lnTo>
                      <a:pt x="1095464" y="144538"/>
                    </a:lnTo>
                    <a:cubicBezTo>
                      <a:pt x="1105084" y="155778"/>
                      <a:pt x="1114228" y="167589"/>
                      <a:pt x="1122896" y="180162"/>
                    </a:cubicBezTo>
                    <a:lnTo>
                      <a:pt x="932015" y="199783"/>
                    </a:lnTo>
                    <a:cubicBezTo>
                      <a:pt x="928681" y="197497"/>
                      <a:pt x="925252" y="195497"/>
                      <a:pt x="921633" y="193497"/>
                    </a:cubicBezTo>
                    <a:cubicBezTo>
                      <a:pt x="867245" y="166350"/>
                      <a:pt x="805332" y="161874"/>
                      <a:pt x="750278" y="186925"/>
                    </a:cubicBezTo>
                    <a:lnTo>
                      <a:pt x="273742" y="403809"/>
                    </a:lnTo>
                    <a:cubicBezTo>
                      <a:pt x="208591" y="433431"/>
                      <a:pt x="168205" y="497344"/>
                      <a:pt x="160013" y="570401"/>
                    </a:cubicBezTo>
                    <a:lnTo>
                      <a:pt x="152584" y="573830"/>
                    </a:lnTo>
                    <a:cubicBezTo>
                      <a:pt x="152393" y="576021"/>
                      <a:pt x="152108" y="578402"/>
                      <a:pt x="151917" y="580783"/>
                    </a:cubicBezTo>
                    <a:close/>
                  </a:path>
                </a:pathLst>
              </a:custGeom>
              <a:grpFill/>
              <a:ln w="9525" cap="flat">
                <a:noFill/>
                <a:prstDash val="solid"/>
                <a:miter/>
              </a:ln>
            </p:spPr>
            <p:txBody>
              <a:bodyPr rtlCol="0" anchor="ctr"/>
              <a:lstStyle/>
              <a:p>
                <a:endParaRPr lang="es-ES" sz="1600"/>
              </a:p>
            </p:txBody>
          </p:sp>
          <p:sp>
            <p:nvSpPr>
              <p:cNvPr id="94" name="Forma libre: forma 93">
                <a:extLst>
                  <a:ext uri="{FF2B5EF4-FFF2-40B4-BE49-F238E27FC236}">
                    <a16:creationId xmlns:a16="http://schemas.microsoft.com/office/drawing/2014/main" id="{5A221665-CD33-4FC6-8404-B11511881BB8}"/>
                  </a:ext>
                </a:extLst>
              </p:cNvPr>
              <p:cNvSpPr/>
              <p:nvPr/>
            </p:nvSpPr>
            <p:spPr>
              <a:xfrm>
                <a:off x="2237263" y="2578007"/>
                <a:ext cx="1096438" cy="579347"/>
              </a:xfrm>
              <a:custGeom>
                <a:avLst/>
                <a:gdLst>
                  <a:gd name="connsiteX0" fmla="*/ 933641 w 1096438"/>
                  <a:gd name="connsiteY0" fmla="*/ 16764 h 579347"/>
                  <a:gd name="connsiteX1" fmla="*/ 1096423 w 1096438"/>
                  <a:gd name="connsiteY1" fmla="*/ 0 h 579347"/>
                  <a:gd name="connsiteX2" fmla="*/ 900208 w 1096438"/>
                  <a:gd name="connsiteY2" fmla="*/ 334327 h 579347"/>
                  <a:gd name="connsiteX3" fmla="*/ 423672 w 1096438"/>
                  <a:gd name="connsiteY3" fmla="*/ 551212 h 579347"/>
                  <a:gd name="connsiteX4" fmla="*/ 280892 w 1096438"/>
                  <a:gd name="connsiteY4" fmla="*/ 579120 h 579347"/>
                  <a:gd name="connsiteX5" fmla="*/ 762 w 1096438"/>
                  <a:gd name="connsiteY5" fmla="*/ 444913 h 579347"/>
                  <a:gd name="connsiteX6" fmla="*/ 5620 w 1096438"/>
                  <a:gd name="connsiteY6" fmla="*/ 442531 h 579347"/>
                  <a:gd name="connsiteX7" fmla="*/ 0 w 1096438"/>
                  <a:gd name="connsiteY7" fmla="*/ 436245 h 579347"/>
                  <a:gd name="connsiteX8" fmla="*/ 147161 w 1096438"/>
                  <a:gd name="connsiteY8" fmla="*/ 369284 h 579347"/>
                  <a:gd name="connsiteX9" fmla="*/ 273749 w 1096438"/>
                  <a:gd name="connsiteY9" fmla="*/ 414052 h 579347"/>
                  <a:gd name="connsiteX10" fmla="*/ 349472 w 1096438"/>
                  <a:gd name="connsiteY10" fmla="*/ 396621 h 579347"/>
                  <a:gd name="connsiteX11" fmla="*/ 823436 w 1096438"/>
                  <a:gd name="connsiteY11" fmla="*/ 174022 h 579347"/>
                  <a:gd name="connsiteX12" fmla="*/ 933641 w 1096438"/>
                  <a:gd name="connsiteY12" fmla="*/ 16764 h 57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6438" h="579347">
                    <a:moveTo>
                      <a:pt x="933641" y="16764"/>
                    </a:moveTo>
                    <a:lnTo>
                      <a:pt x="1096423" y="0"/>
                    </a:lnTo>
                    <a:cubicBezTo>
                      <a:pt x="1097661" y="144780"/>
                      <a:pt x="1025938" y="277082"/>
                      <a:pt x="900208" y="334327"/>
                    </a:cubicBezTo>
                    <a:lnTo>
                      <a:pt x="423672" y="551212"/>
                    </a:lnTo>
                    <a:cubicBezTo>
                      <a:pt x="377857" y="571976"/>
                      <a:pt x="329375" y="580930"/>
                      <a:pt x="280892" y="579120"/>
                    </a:cubicBezTo>
                    <a:cubicBezTo>
                      <a:pt x="179070" y="577501"/>
                      <a:pt x="76867" y="528828"/>
                      <a:pt x="762" y="444913"/>
                    </a:cubicBezTo>
                    <a:lnTo>
                      <a:pt x="5620" y="442531"/>
                    </a:lnTo>
                    <a:cubicBezTo>
                      <a:pt x="3810" y="440436"/>
                      <a:pt x="1905" y="438436"/>
                      <a:pt x="0" y="436245"/>
                    </a:cubicBezTo>
                    <a:lnTo>
                      <a:pt x="147161" y="369284"/>
                    </a:lnTo>
                    <a:cubicBezTo>
                      <a:pt x="185166" y="397478"/>
                      <a:pt x="229457" y="413290"/>
                      <a:pt x="273749" y="414052"/>
                    </a:cubicBezTo>
                    <a:cubicBezTo>
                      <a:pt x="299561" y="413575"/>
                      <a:pt x="325184" y="408051"/>
                      <a:pt x="349472" y="396621"/>
                    </a:cubicBezTo>
                    <a:lnTo>
                      <a:pt x="823436" y="174022"/>
                    </a:lnTo>
                    <a:cubicBezTo>
                      <a:pt x="884777" y="145066"/>
                      <a:pt x="923735" y="85439"/>
                      <a:pt x="933641" y="16764"/>
                    </a:cubicBezTo>
                    <a:close/>
                  </a:path>
                </a:pathLst>
              </a:custGeom>
              <a:grpFill/>
              <a:ln w="9525" cap="flat">
                <a:noFill/>
                <a:prstDash val="solid"/>
                <a:miter/>
              </a:ln>
            </p:spPr>
            <p:txBody>
              <a:bodyPr rtlCol="0" anchor="ctr"/>
              <a:lstStyle/>
              <a:p>
                <a:endParaRPr lang="es-ES" sz="1600"/>
              </a:p>
            </p:txBody>
          </p:sp>
        </p:grpSp>
        <p:sp>
          <p:nvSpPr>
            <p:cNvPr id="85" name="Forma libre: forma 84">
              <a:extLst>
                <a:ext uri="{FF2B5EF4-FFF2-40B4-BE49-F238E27FC236}">
                  <a16:creationId xmlns:a16="http://schemas.microsoft.com/office/drawing/2014/main" id="{07CBA42E-AAEB-4B7D-84C0-4D5FBC626BF3}"/>
                </a:ext>
              </a:extLst>
            </p:cNvPr>
            <p:cNvSpPr/>
            <p:nvPr/>
          </p:nvSpPr>
          <p:spPr>
            <a:xfrm>
              <a:off x="4910252" y="2706888"/>
              <a:ext cx="174939" cy="102523"/>
            </a:xfrm>
            <a:custGeom>
              <a:avLst/>
              <a:gdLst>
                <a:gd name="connsiteX0" fmla="*/ 0 w 204787"/>
                <a:gd name="connsiteY0" fmla="*/ 63532 h 120015"/>
                <a:gd name="connsiteX1" fmla="*/ 87535 w 204787"/>
                <a:gd name="connsiteY1" fmla="*/ 0 h 120015"/>
                <a:gd name="connsiteX2" fmla="*/ 204788 w 204787"/>
                <a:gd name="connsiteY2" fmla="*/ 0 h 120015"/>
                <a:gd name="connsiteX3" fmla="*/ 102394 w 204787"/>
                <a:gd name="connsiteY3" fmla="*/ 120015 h 120015"/>
              </a:gdLst>
              <a:ahLst/>
              <a:cxnLst>
                <a:cxn ang="0">
                  <a:pos x="connsiteX0" y="connsiteY0"/>
                </a:cxn>
                <a:cxn ang="0">
                  <a:pos x="connsiteX1" y="connsiteY1"/>
                </a:cxn>
                <a:cxn ang="0">
                  <a:pos x="connsiteX2" y="connsiteY2"/>
                </a:cxn>
                <a:cxn ang="0">
                  <a:pos x="connsiteX3" y="connsiteY3"/>
                </a:cxn>
              </a:cxnLst>
              <a:rect l="l" t="t" r="r" b="b"/>
              <a:pathLst>
                <a:path w="204787" h="120015">
                  <a:moveTo>
                    <a:pt x="0" y="63532"/>
                  </a:moveTo>
                  <a:lnTo>
                    <a:pt x="87535" y="0"/>
                  </a:lnTo>
                  <a:lnTo>
                    <a:pt x="204788" y="0"/>
                  </a:lnTo>
                  <a:lnTo>
                    <a:pt x="102394" y="120015"/>
                  </a:lnTo>
                  <a:close/>
                </a:path>
              </a:pathLst>
            </a:custGeom>
            <a:grpFill/>
            <a:ln w="9525" cap="flat">
              <a:noFill/>
              <a:prstDash val="solid"/>
              <a:miter/>
            </a:ln>
          </p:spPr>
          <p:txBody>
            <a:bodyPr rtlCol="0" anchor="ctr"/>
            <a:lstStyle/>
            <a:p>
              <a:endParaRPr lang="es-ES" sz="1600"/>
            </a:p>
          </p:txBody>
        </p:sp>
        <p:sp>
          <p:nvSpPr>
            <p:cNvPr id="86" name="Forma libre: forma 85">
              <a:extLst>
                <a:ext uri="{FF2B5EF4-FFF2-40B4-BE49-F238E27FC236}">
                  <a16:creationId xmlns:a16="http://schemas.microsoft.com/office/drawing/2014/main" id="{448C7034-7D5A-4CD5-BF56-BF5AD50D7B25}"/>
                </a:ext>
              </a:extLst>
            </p:cNvPr>
            <p:cNvSpPr/>
            <p:nvPr/>
          </p:nvSpPr>
          <p:spPr>
            <a:xfrm>
              <a:off x="4741171" y="2585733"/>
              <a:ext cx="115541" cy="112042"/>
            </a:xfrm>
            <a:custGeom>
              <a:avLst/>
              <a:gdLst>
                <a:gd name="connsiteX0" fmla="*/ 0 w 135255"/>
                <a:gd name="connsiteY0" fmla="*/ 99346 h 131159"/>
                <a:gd name="connsiteX1" fmla="*/ 135255 w 135255"/>
                <a:gd name="connsiteY1" fmla="*/ 0 h 131159"/>
                <a:gd name="connsiteX2" fmla="*/ 135255 w 135255"/>
                <a:gd name="connsiteY2" fmla="*/ 131159 h 131159"/>
              </a:gdLst>
              <a:ahLst/>
              <a:cxnLst>
                <a:cxn ang="0">
                  <a:pos x="connsiteX0" y="connsiteY0"/>
                </a:cxn>
                <a:cxn ang="0">
                  <a:pos x="connsiteX1" y="connsiteY1"/>
                </a:cxn>
                <a:cxn ang="0">
                  <a:pos x="connsiteX2" y="connsiteY2"/>
                </a:cxn>
              </a:cxnLst>
              <a:rect l="l" t="t" r="r" b="b"/>
              <a:pathLst>
                <a:path w="135255" h="131159">
                  <a:moveTo>
                    <a:pt x="0" y="99346"/>
                  </a:moveTo>
                  <a:lnTo>
                    <a:pt x="135255" y="0"/>
                  </a:lnTo>
                  <a:lnTo>
                    <a:pt x="135255" y="131159"/>
                  </a:lnTo>
                  <a:close/>
                </a:path>
              </a:pathLst>
            </a:custGeom>
            <a:grpFill/>
            <a:ln w="9525" cap="flat">
              <a:noFill/>
              <a:prstDash val="solid"/>
              <a:miter/>
            </a:ln>
          </p:spPr>
          <p:txBody>
            <a:bodyPr rtlCol="0" anchor="ctr"/>
            <a:lstStyle/>
            <a:p>
              <a:endParaRPr lang="es-ES" sz="1600"/>
            </a:p>
          </p:txBody>
        </p:sp>
      </p:grpSp>
      <p:grpSp>
        <p:nvGrpSpPr>
          <p:cNvPr id="95" name="Grupo 94">
            <a:extLst>
              <a:ext uri="{FF2B5EF4-FFF2-40B4-BE49-F238E27FC236}">
                <a16:creationId xmlns:a16="http://schemas.microsoft.com/office/drawing/2014/main" id="{C4B6BEC6-57C3-44D3-BDA1-D1260F060AC9}"/>
              </a:ext>
            </a:extLst>
          </p:cNvPr>
          <p:cNvGrpSpPr/>
          <p:nvPr/>
        </p:nvGrpSpPr>
        <p:grpSpPr>
          <a:xfrm rot="522620">
            <a:off x="5267394" y="914502"/>
            <a:ext cx="3057208" cy="1311769"/>
            <a:chOff x="4593734" y="1157548"/>
            <a:chExt cx="3177195" cy="1363253"/>
          </a:xfrm>
          <a:solidFill>
            <a:schemeClr val="accent4"/>
          </a:solidFill>
        </p:grpSpPr>
        <p:grpSp>
          <p:nvGrpSpPr>
            <p:cNvPr id="96" name="Gráfico 3">
              <a:extLst>
                <a:ext uri="{FF2B5EF4-FFF2-40B4-BE49-F238E27FC236}">
                  <a16:creationId xmlns:a16="http://schemas.microsoft.com/office/drawing/2014/main" id="{7026A08D-A750-4E57-817B-85369EFB9AD8}"/>
                </a:ext>
              </a:extLst>
            </p:cNvPr>
            <p:cNvGrpSpPr/>
            <p:nvPr/>
          </p:nvGrpSpPr>
          <p:grpSpPr>
            <a:xfrm rot="483077">
              <a:off x="4997855" y="1157548"/>
              <a:ext cx="2773074" cy="1363253"/>
              <a:chOff x="4503036" y="1085214"/>
              <a:chExt cx="3246219" cy="1595853"/>
            </a:xfrm>
            <a:grpFill/>
          </p:grpSpPr>
          <p:sp>
            <p:nvSpPr>
              <p:cNvPr id="100" name="Forma libre: forma 99">
                <a:extLst>
                  <a:ext uri="{FF2B5EF4-FFF2-40B4-BE49-F238E27FC236}">
                    <a16:creationId xmlns:a16="http://schemas.microsoft.com/office/drawing/2014/main" id="{3D3A54F4-6A62-4E7A-BFE7-71DA5137F461}"/>
                  </a:ext>
                </a:extLst>
              </p:cNvPr>
              <p:cNvSpPr/>
              <p:nvPr/>
            </p:nvSpPr>
            <p:spPr>
              <a:xfrm>
                <a:off x="4503036" y="1840304"/>
                <a:ext cx="620493" cy="248213"/>
              </a:xfrm>
              <a:custGeom>
                <a:avLst/>
                <a:gdLst>
                  <a:gd name="connsiteX0" fmla="*/ 554866 w 620493"/>
                  <a:gd name="connsiteY0" fmla="*/ 124008 h 248213"/>
                  <a:gd name="connsiteX1" fmla="*/ 256448 w 620493"/>
                  <a:gd name="connsiteY1" fmla="*/ 2469 h 248213"/>
                  <a:gd name="connsiteX2" fmla="*/ 22133 w 620493"/>
                  <a:gd name="connsiteY2" fmla="*/ 31996 h 248213"/>
                  <a:gd name="connsiteX3" fmla="*/ 321 w 620493"/>
                  <a:gd name="connsiteY3" fmla="*/ 195540 h 248213"/>
                  <a:gd name="connsiteX4" fmla="*/ 274069 w 620493"/>
                  <a:gd name="connsiteY4" fmla="*/ 166108 h 248213"/>
                  <a:gd name="connsiteX5" fmla="*/ 446853 w 620493"/>
                  <a:gd name="connsiteY5" fmla="*/ 234784 h 248213"/>
                  <a:gd name="connsiteX6" fmla="*/ 458568 w 620493"/>
                  <a:gd name="connsiteY6" fmla="*/ 248214 h 248213"/>
                  <a:gd name="connsiteX7" fmla="*/ 620493 w 620493"/>
                  <a:gd name="connsiteY7" fmla="*/ 227735 h 248213"/>
                  <a:gd name="connsiteX8" fmla="*/ 554866 w 620493"/>
                  <a:gd name="connsiteY8" fmla="*/ 124008 h 24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0493" h="248213">
                    <a:moveTo>
                      <a:pt x="554866" y="124008"/>
                    </a:moveTo>
                    <a:cubicBezTo>
                      <a:pt x="478190" y="36854"/>
                      <a:pt x="369605" y="-11819"/>
                      <a:pt x="256448" y="2469"/>
                    </a:cubicBezTo>
                    <a:lnTo>
                      <a:pt x="22133" y="31996"/>
                    </a:lnTo>
                    <a:cubicBezTo>
                      <a:pt x="62995" y="124103"/>
                      <a:pt x="-5204" y="140867"/>
                      <a:pt x="321" y="195540"/>
                    </a:cubicBezTo>
                    <a:lnTo>
                      <a:pt x="274069" y="166108"/>
                    </a:lnTo>
                    <a:cubicBezTo>
                      <a:pt x="339316" y="157917"/>
                      <a:pt x="401990" y="185349"/>
                      <a:pt x="446853" y="234784"/>
                    </a:cubicBezTo>
                    <a:cubicBezTo>
                      <a:pt x="450949" y="239070"/>
                      <a:pt x="454854" y="243546"/>
                      <a:pt x="458568" y="248214"/>
                    </a:cubicBezTo>
                    <a:lnTo>
                      <a:pt x="620493" y="227735"/>
                    </a:lnTo>
                    <a:cubicBezTo>
                      <a:pt x="603158" y="189254"/>
                      <a:pt x="580965" y="154392"/>
                      <a:pt x="554866" y="124008"/>
                    </a:cubicBezTo>
                    <a:close/>
                  </a:path>
                </a:pathLst>
              </a:custGeom>
              <a:grpFill/>
              <a:ln w="9525" cap="flat">
                <a:noFill/>
                <a:prstDash val="solid"/>
                <a:miter/>
              </a:ln>
            </p:spPr>
            <p:txBody>
              <a:bodyPr rtlCol="0" anchor="ctr"/>
              <a:lstStyle/>
              <a:p>
                <a:endParaRPr lang="es-ES" sz="1600"/>
              </a:p>
            </p:txBody>
          </p:sp>
          <p:sp>
            <p:nvSpPr>
              <p:cNvPr id="101" name="Forma libre: forma 100">
                <a:extLst>
                  <a:ext uri="{FF2B5EF4-FFF2-40B4-BE49-F238E27FC236}">
                    <a16:creationId xmlns:a16="http://schemas.microsoft.com/office/drawing/2014/main" id="{C8DC3851-3F39-4EA8-9D20-5CE620170CE7}"/>
                  </a:ext>
                </a:extLst>
              </p:cNvPr>
              <p:cNvSpPr/>
              <p:nvPr/>
            </p:nvSpPr>
            <p:spPr>
              <a:xfrm>
                <a:off x="4565951" y="2329119"/>
                <a:ext cx="592343" cy="351948"/>
              </a:xfrm>
              <a:custGeom>
                <a:avLst/>
                <a:gdLst>
                  <a:gd name="connsiteX0" fmla="*/ 437277 w 592343"/>
                  <a:gd name="connsiteY0" fmla="*/ 19526 h 351948"/>
                  <a:gd name="connsiteX1" fmla="*/ 274495 w 592343"/>
                  <a:gd name="connsiteY1" fmla="*/ 156496 h 351948"/>
                  <a:gd name="connsiteX2" fmla="*/ 21987 w 592343"/>
                  <a:gd name="connsiteY2" fmla="*/ 188404 h 351948"/>
                  <a:gd name="connsiteX3" fmla="*/ 40561 w 592343"/>
                  <a:gd name="connsiteY3" fmla="*/ 351949 h 351948"/>
                  <a:gd name="connsiteX4" fmla="*/ 292116 w 592343"/>
                  <a:gd name="connsiteY4" fmla="*/ 320230 h 351948"/>
                  <a:gd name="connsiteX5" fmla="*/ 592344 w 592343"/>
                  <a:gd name="connsiteY5" fmla="*/ 0 h 351948"/>
                  <a:gd name="connsiteX6" fmla="*/ 437277 w 592343"/>
                  <a:gd name="connsiteY6" fmla="*/ 19526 h 35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343" h="351948">
                    <a:moveTo>
                      <a:pt x="437277" y="19526"/>
                    </a:moveTo>
                    <a:cubicBezTo>
                      <a:pt x="409559" y="92774"/>
                      <a:pt x="349552" y="147066"/>
                      <a:pt x="274495" y="156496"/>
                    </a:cubicBezTo>
                    <a:lnTo>
                      <a:pt x="21987" y="188404"/>
                    </a:lnTo>
                    <a:cubicBezTo>
                      <a:pt x="-33925" y="307753"/>
                      <a:pt x="33607" y="297466"/>
                      <a:pt x="40561" y="351949"/>
                    </a:cubicBezTo>
                    <a:lnTo>
                      <a:pt x="292116" y="320230"/>
                    </a:lnTo>
                    <a:cubicBezTo>
                      <a:pt x="448136" y="300514"/>
                      <a:pt x="566150" y="167164"/>
                      <a:pt x="592344" y="0"/>
                    </a:cubicBezTo>
                    <a:lnTo>
                      <a:pt x="437277" y="19526"/>
                    </a:lnTo>
                    <a:close/>
                  </a:path>
                </a:pathLst>
              </a:custGeom>
              <a:grpFill/>
              <a:ln w="9525" cap="flat">
                <a:noFill/>
                <a:prstDash val="solid"/>
                <a:miter/>
              </a:ln>
            </p:spPr>
            <p:txBody>
              <a:bodyPr rtlCol="0" anchor="ctr"/>
              <a:lstStyle/>
              <a:p>
                <a:endParaRPr lang="es-ES" sz="1600"/>
              </a:p>
            </p:txBody>
          </p:sp>
          <p:sp>
            <p:nvSpPr>
              <p:cNvPr id="102" name="Forma libre: forma 101">
                <a:extLst>
                  <a:ext uri="{FF2B5EF4-FFF2-40B4-BE49-F238E27FC236}">
                    <a16:creationId xmlns:a16="http://schemas.microsoft.com/office/drawing/2014/main" id="{0A27A759-FAE1-46B0-8AA9-BB87BF70B3F3}"/>
                  </a:ext>
                </a:extLst>
              </p:cNvPr>
              <p:cNvSpPr/>
              <p:nvPr/>
            </p:nvSpPr>
            <p:spPr>
              <a:xfrm>
                <a:off x="6542160" y="1085214"/>
                <a:ext cx="1207094" cy="1026077"/>
              </a:xfrm>
              <a:custGeom>
                <a:avLst/>
                <a:gdLst>
                  <a:gd name="connsiteX0" fmla="*/ 1200553 w 1207094"/>
                  <a:gd name="connsiteY0" fmla="*/ 367415 h 1026077"/>
                  <a:gd name="connsiteX1" fmla="*/ 1200839 w 1207094"/>
                  <a:gd name="connsiteY1" fmla="*/ 367320 h 1026077"/>
                  <a:gd name="connsiteX2" fmla="*/ 1206364 w 1207094"/>
                  <a:gd name="connsiteY2" fmla="*/ 465713 h 1026077"/>
                  <a:gd name="connsiteX3" fmla="*/ 1206268 w 1207094"/>
                  <a:gd name="connsiteY3" fmla="*/ 468285 h 1026077"/>
                  <a:gd name="connsiteX4" fmla="*/ 1205125 w 1207094"/>
                  <a:gd name="connsiteY4" fmla="*/ 482001 h 1026077"/>
                  <a:gd name="connsiteX5" fmla="*/ 1204554 w 1207094"/>
                  <a:gd name="connsiteY5" fmla="*/ 488382 h 1026077"/>
                  <a:gd name="connsiteX6" fmla="*/ 1203601 w 1207094"/>
                  <a:gd name="connsiteY6" fmla="*/ 495907 h 1026077"/>
                  <a:gd name="connsiteX7" fmla="*/ 1011863 w 1207094"/>
                  <a:gd name="connsiteY7" fmla="*/ 772513 h 1026077"/>
                  <a:gd name="connsiteX8" fmla="*/ 910898 w 1207094"/>
                  <a:gd name="connsiteY8" fmla="*/ 818805 h 1026077"/>
                  <a:gd name="connsiteX9" fmla="*/ 547329 w 1207094"/>
                  <a:gd name="connsiteY9" fmla="*/ 994731 h 1026077"/>
                  <a:gd name="connsiteX10" fmla="*/ 123561 w 1207094"/>
                  <a:gd name="connsiteY10" fmla="*/ 892338 h 1026077"/>
                  <a:gd name="connsiteX11" fmla="*/ 273675 w 1207094"/>
                  <a:gd name="connsiteY11" fmla="*/ 819757 h 1026077"/>
                  <a:gd name="connsiteX12" fmla="*/ 465604 w 1207094"/>
                  <a:gd name="connsiteY12" fmla="*/ 837378 h 1026077"/>
                  <a:gd name="connsiteX13" fmla="*/ 842985 w 1207094"/>
                  <a:gd name="connsiteY13" fmla="*/ 664214 h 1026077"/>
                  <a:gd name="connsiteX14" fmla="*/ 945188 w 1207094"/>
                  <a:gd name="connsiteY14" fmla="*/ 614779 h 1026077"/>
                  <a:gd name="connsiteX15" fmla="*/ 1055487 w 1207094"/>
                  <a:gd name="connsiteY15" fmla="*/ 437709 h 1026077"/>
                  <a:gd name="connsiteX16" fmla="*/ 1055773 w 1207094"/>
                  <a:gd name="connsiteY16" fmla="*/ 437519 h 1026077"/>
                  <a:gd name="connsiteX17" fmla="*/ 1031484 w 1207094"/>
                  <a:gd name="connsiteY17" fmla="*/ 314075 h 1026077"/>
                  <a:gd name="connsiteX18" fmla="*/ 741734 w 1207094"/>
                  <a:gd name="connsiteY18" fmla="*/ 183392 h 1026077"/>
                  <a:gd name="connsiteX19" fmla="*/ 638578 w 1207094"/>
                  <a:gd name="connsiteY19" fmla="*/ 230636 h 1026077"/>
                  <a:gd name="connsiteX20" fmla="*/ 265103 w 1207094"/>
                  <a:gd name="connsiteY20" fmla="*/ 411420 h 1026077"/>
                  <a:gd name="connsiteX21" fmla="*/ 155851 w 1207094"/>
                  <a:gd name="connsiteY21" fmla="*/ 576679 h 1026077"/>
                  <a:gd name="connsiteX22" fmla="*/ 155375 w 1207094"/>
                  <a:gd name="connsiteY22" fmla="*/ 580584 h 1026077"/>
                  <a:gd name="connsiteX23" fmla="*/ 8309 w 1207094"/>
                  <a:gd name="connsiteY23" fmla="*/ 651736 h 1026077"/>
                  <a:gd name="connsiteX24" fmla="*/ 7833 w 1207094"/>
                  <a:gd name="connsiteY24" fmla="*/ 648212 h 1026077"/>
                  <a:gd name="connsiteX25" fmla="*/ 7070 w 1207094"/>
                  <a:gd name="connsiteY25" fmla="*/ 642878 h 1026077"/>
                  <a:gd name="connsiteX26" fmla="*/ 4880 w 1207094"/>
                  <a:gd name="connsiteY26" fmla="*/ 643830 h 1026077"/>
                  <a:gd name="connsiteX27" fmla="*/ 195380 w 1207094"/>
                  <a:gd name="connsiteY27" fmla="*/ 248257 h 1026077"/>
                  <a:gd name="connsiteX28" fmla="*/ 566664 w 1207094"/>
                  <a:gd name="connsiteY28" fmla="*/ 77950 h 1026077"/>
                  <a:gd name="connsiteX29" fmla="*/ 662867 w 1207094"/>
                  <a:gd name="connsiteY29" fmla="*/ 31373 h 1026077"/>
                  <a:gd name="connsiteX30" fmla="*/ 1084443 w 1207094"/>
                  <a:gd name="connsiteY30" fmla="*/ 131100 h 1026077"/>
                  <a:gd name="connsiteX31" fmla="*/ 1084062 w 1207094"/>
                  <a:gd name="connsiteY31" fmla="*/ 131195 h 1026077"/>
                  <a:gd name="connsiteX32" fmla="*/ 1165120 w 1207094"/>
                  <a:gd name="connsiteY32" fmla="*/ 252734 h 1026077"/>
                  <a:gd name="connsiteX33" fmla="*/ 1200553 w 1207094"/>
                  <a:gd name="connsiteY33" fmla="*/ 367415 h 1026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07094" h="1026077">
                    <a:moveTo>
                      <a:pt x="1200553" y="367415"/>
                    </a:moveTo>
                    <a:lnTo>
                      <a:pt x="1200839" y="367320"/>
                    </a:lnTo>
                    <a:cubicBezTo>
                      <a:pt x="1206458" y="400467"/>
                      <a:pt x="1208268" y="433518"/>
                      <a:pt x="1206364" y="465713"/>
                    </a:cubicBezTo>
                    <a:cubicBezTo>
                      <a:pt x="1206364" y="466570"/>
                      <a:pt x="1206268" y="467427"/>
                      <a:pt x="1206268" y="468285"/>
                    </a:cubicBezTo>
                    <a:cubicBezTo>
                      <a:pt x="1205982" y="472857"/>
                      <a:pt x="1205601" y="477429"/>
                      <a:pt x="1205125" y="482001"/>
                    </a:cubicBezTo>
                    <a:cubicBezTo>
                      <a:pt x="1204935" y="484096"/>
                      <a:pt x="1204744" y="486287"/>
                      <a:pt x="1204554" y="488382"/>
                    </a:cubicBezTo>
                    <a:cubicBezTo>
                      <a:pt x="1204268" y="490859"/>
                      <a:pt x="1203982" y="493431"/>
                      <a:pt x="1203601" y="495907"/>
                    </a:cubicBezTo>
                    <a:cubicBezTo>
                      <a:pt x="1188075" y="617160"/>
                      <a:pt x="1120257" y="722697"/>
                      <a:pt x="1011863" y="772513"/>
                    </a:cubicBezTo>
                    <a:lnTo>
                      <a:pt x="910898" y="818805"/>
                    </a:lnTo>
                    <a:lnTo>
                      <a:pt x="547329" y="994731"/>
                    </a:lnTo>
                    <a:cubicBezTo>
                      <a:pt x="406740" y="1062740"/>
                      <a:pt x="236528" y="1016258"/>
                      <a:pt x="123561" y="892338"/>
                    </a:cubicBezTo>
                    <a:lnTo>
                      <a:pt x="273675" y="819757"/>
                    </a:lnTo>
                    <a:cubicBezTo>
                      <a:pt x="332635" y="856809"/>
                      <a:pt x="403501" y="865668"/>
                      <a:pt x="465604" y="837378"/>
                    </a:cubicBezTo>
                    <a:lnTo>
                      <a:pt x="842985" y="664214"/>
                    </a:lnTo>
                    <a:lnTo>
                      <a:pt x="945188" y="614779"/>
                    </a:lnTo>
                    <a:cubicBezTo>
                      <a:pt x="1011958" y="582489"/>
                      <a:pt x="1051296" y="514100"/>
                      <a:pt x="1055487" y="437709"/>
                    </a:cubicBezTo>
                    <a:lnTo>
                      <a:pt x="1055773" y="437519"/>
                    </a:lnTo>
                    <a:cubicBezTo>
                      <a:pt x="1057773" y="397228"/>
                      <a:pt x="1050153" y="354747"/>
                      <a:pt x="1031484" y="314075"/>
                    </a:cubicBezTo>
                    <a:cubicBezTo>
                      <a:pt x="976430" y="193965"/>
                      <a:pt x="846413" y="135291"/>
                      <a:pt x="741734" y="183392"/>
                    </a:cubicBezTo>
                    <a:lnTo>
                      <a:pt x="638578" y="230636"/>
                    </a:lnTo>
                    <a:lnTo>
                      <a:pt x="265103" y="411420"/>
                    </a:lnTo>
                    <a:cubicBezTo>
                      <a:pt x="201761" y="441996"/>
                      <a:pt x="163185" y="505146"/>
                      <a:pt x="155851" y="576679"/>
                    </a:cubicBezTo>
                    <a:cubicBezTo>
                      <a:pt x="155661" y="578013"/>
                      <a:pt x="155470" y="579251"/>
                      <a:pt x="155375" y="580584"/>
                    </a:cubicBezTo>
                    <a:lnTo>
                      <a:pt x="8309" y="651736"/>
                    </a:lnTo>
                    <a:cubicBezTo>
                      <a:pt x="8118" y="650498"/>
                      <a:pt x="7928" y="649355"/>
                      <a:pt x="7833" y="648212"/>
                    </a:cubicBezTo>
                    <a:cubicBezTo>
                      <a:pt x="7547" y="646402"/>
                      <a:pt x="7356" y="644592"/>
                      <a:pt x="7070" y="642878"/>
                    </a:cubicBezTo>
                    <a:lnTo>
                      <a:pt x="4880" y="643830"/>
                    </a:lnTo>
                    <a:cubicBezTo>
                      <a:pt x="-20171" y="476476"/>
                      <a:pt x="52410" y="313789"/>
                      <a:pt x="195380" y="248257"/>
                    </a:cubicBezTo>
                    <a:lnTo>
                      <a:pt x="566664" y="77950"/>
                    </a:lnTo>
                    <a:lnTo>
                      <a:pt x="662867" y="31373"/>
                    </a:lnTo>
                    <a:cubicBezTo>
                      <a:pt x="802503" y="-36159"/>
                      <a:pt x="971191" y="9084"/>
                      <a:pt x="1084443" y="131100"/>
                    </a:cubicBezTo>
                    <a:lnTo>
                      <a:pt x="1084062" y="131195"/>
                    </a:lnTo>
                    <a:cubicBezTo>
                      <a:pt x="1116352" y="165866"/>
                      <a:pt x="1143974" y="206538"/>
                      <a:pt x="1165120" y="252734"/>
                    </a:cubicBezTo>
                    <a:cubicBezTo>
                      <a:pt x="1182265" y="290453"/>
                      <a:pt x="1193981" y="329029"/>
                      <a:pt x="1200553" y="367415"/>
                    </a:cubicBezTo>
                    <a:close/>
                  </a:path>
                </a:pathLst>
              </a:custGeom>
              <a:grpFill/>
              <a:ln w="9525" cap="flat">
                <a:noFill/>
                <a:prstDash val="solid"/>
                <a:miter/>
              </a:ln>
            </p:spPr>
            <p:txBody>
              <a:bodyPr rtlCol="0" anchor="ctr"/>
              <a:lstStyle/>
              <a:p>
                <a:endParaRPr lang="es-ES" sz="1600"/>
              </a:p>
            </p:txBody>
          </p:sp>
          <p:sp>
            <p:nvSpPr>
              <p:cNvPr id="103" name="Forma libre: forma 102">
                <a:extLst>
                  <a:ext uri="{FF2B5EF4-FFF2-40B4-BE49-F238E27FC236}">
                    <a16:creationId xmlns:a16="http://schemas.microsoft.com/office/drawing/2014/main" id="{A001C028-649A-4451-9900-44E346B22372}"/>
                  </a:ext>
                </a:extLst>
              </p:cNvPr>
              <p:cNvSpPr/>
              <p:nvPr/>
            </p:nvSpPr>
            <p:spPr>
              <a:xfrm>
                <a:off x="6089450" y="1636188"/>
                <a:ext cx="877080" cy="515949"/>
              </a:xfrm>
              <a:custGeom>
                <a:avLst/>
                <a:gdLst>
                  <a:gd name="connsiteX0" fmla="*/ 776963 w 877080"/>
                  <a:gd name="connsiteY0" fmla="*/ 1987 h 515949"/>
                  <a:gd name="connsiteX1" fmla="*/ 764581 w 877080"/>
                  <a:gd name="connsiteY1" fmla="*/ 6464 h 515949"/>
                  <a:gd name="connsiteX2" fmla="*/ 38966 w 877080"/>
                  <a:gd name="connsiteY2" fmla="*/ 357556 h 515949"/>
                  <a:gd name="connsiteX3" fmla="*/ 9534 w 877080"/>
                  <a:gd name="connsiteY3" fmla="*/ 465569 h 515949"/>
                  <a:gd name="connsiteX4" fmla="*/ 100117 w 877080"/>
                  <a:gd name="connsiteY4" fmla="*/ 513956 h 515949"/>
                  <a:gd name="connsiteX5" fmla="*/ 112500 w 877080"/>
                  <a:gd name="connsiteY5" fmla="*/ 509479 h 515949"/>
                  <a:gd name="connsiteX6" fmla="*/ 838114 w 877080"/>
                  <a:gd name="connsiteY6" fmla="*/ 158388 h 515949"/>
                  <a:gd name="connsiteX7" fmla="*/ 867546 w 877080"/>
                  <a:gd name="connsiteY7" fmla="*/ 50374 h 515949"/>
                  <a:gd name="connsiteX8" fmla="*/ 776963 w 877080"/>
                  <a:gd name="connsiteY8" fmla="*/ 1987 h 515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080" h="515949">
                    <a:moveTo>
                      <a:pt x="776963" y="1987"/>
                    </a:moveTo>
                    <a:cubicBezTo>
                      <a:pt x="772772" y="3035"/>
                      <a:pt x="768581" y="4559"/>
                      <a:pt x="764581" y="6464"/>
                    </a:cubicBezTo>
                    <a:lnTo>
                      <a:pt x="38966" y="357556"/>
                    </a:lnTo>
                    <a:cubicBezTo>
                      <a:pt x="2390" y="375272"/>
                      <a:pt x="-10754" y="423564"/>
                      <a:pt x="9534" y="465569"/>
                    </a:cubicBezTo>
                    <a:cubicBezTo>
                      <a:pt x="27632" y="502907"/>
                      <a:pt x="66018" y="522529"/>
                      <a:pt x="100117" y="513956"/>
                    </a:cubicBezTo>
                    <a:cubicBezTo>
                      <a:pt x="104308" y="512908"/>
                      <a:pt x="108499" y="511384"/>
                      <a:pt x="112500" y="509479"/>
                    </a:cubicBezTo>
                    <a:lnTo>
                      <a:pt x="838114" y="158388"/>
                    </a:lnTo>
                    <a:cubicBezTo>
                      <a:pt x="874690" y="140671"/>
                      <a:pt x="887834" y="92380"/>
                      <a:pt x="867546" y="50374"/>
                    </a:cubicBezTo>
                    <a:cubicBezTo>
                      <a:pt x="849449" y="13132"/>
                      <a:pt x="810968" y="-6585"/>
                      <a:pt x="776963" y="1987"/>
                    </a:cubicBezTo>
                    <a:close/>
                  </a:path>
                </a:pathLst>
              </a:custGeom>
              <a:grpFill/>
              <a:ln w="9525" cap="flat">
                <a:noFill/>
                <a:prstDash val="solid"/>
                <a:miter/>
              </a:ln>
            </p:spPr>
            <p:txBody>
              <a:bodyPr rtlCol="0" anchor="ctr"/>
              <a:lstStyle/>
              <a:p>
                <a:endParaRPr lang="es-ES" sz="1600" dirty="0"/>
              </a:p>
            </p:txBody>
          </p:sp>
          <p:sp>
            <p:nvSpPr>
              <p:cNvPr id="104" name="Forma libre: forma 103">
                <a:extLst>
                  <a:ext uri="{FF2B5EF4-FFF2-40B4-BE49-F238E27FC236}">
                    <a16:creationId xmlns:a16="http://schemas.microsoft.com/office/drawing/2014/main" id="{C927BB31-8B63-4508-8280-67B8F8FC48DD}"/>
                  </a:ext>
                </a:extLst>
              </p:cNvPr>
              <p:cNvSpPr/>
              <p:nvPr/>
            </p:nvSpPr>
            <p:spPr>
              <a:xfrm>
                <a:off x="5304123" y="1653709"/>
                <a:ext cx="1227862" cy="880858"/>
              </a:xfrm>
              <a:custGeom>
                <a:avLst/>
                <a:gdLst>
                  <a:gd name="connsiteX0" fmla="*/ 1076325 w 1227862"/>
                  <a:gd name="connsiteY0" fmla="*/ 461955 h 880858"/>
                  <a:gd name="connsiteX1" fmla="*/ 900970 w 1227862"/>
                  <a:gd name="connsiteY1" fmla="*/ 645311 h 880858"/>
                  <a:gd name="connsiteX2" fmla="*/ 381571 w 1227862"/>
                  <a:gd name="connsiteY2" fmla="*/ 710843 h 880858"/>
                  <a:gd name="connsiteX3" fmla="*/ 197263 w 1227862"/>
                  <a:gd name="connsiteY3" fmla="*/ 628643 h 880858"/>
                  <a:gd name="connsiteX4" fmla="*/ 35052 w 1227862"/>
                  <a:gd name="connsiteY4" fmla="*/ 649217 h 880858"/>
                  <a:gd name="connsiteX5" fmla="*/ 402717 w 1227862"/>
                  <a:gd name="connsiteY5" fmla="*/ 878388 h 880858"/>
                  <a:gd name="connsiteX6" fmla="*/ 922116 w 1227862"/>
                  <a:gd name="connsiteY6" fmla="*/ 812856 h 880858"/>
                  <a:gd name="connsiteX7" fmla="*/ 1226725 w 1227862"/>
                  <a:gd name="connsiteY7" fmla="*/ 389184 h 880858"/>
                  <a:gd name="connsiteX8" fmla="*/ 1076325 w 1227862"/>
                  <a:gd name="connsiteY8" fmla="*/ 461955 h 880858"/>
                  <a:gd name="connsiteX9" fmla="*/ 819817 w 1227862"/>
                  <a:gd name="connsiteY9" fmla="*/ 2469 h 880858"/>
                  <a:gd name="connsiteX10" fmla="*/ 300228 w 1227862"/>
                  <a:gd name="connsiteY10" fmla="*/ 68001 h 880858"/>
                  <a:gd name="connsiteX11" fmla="*/ 0 w 1227862"/>
                  <a:gd name="connsiteY11" fmla="*/ 388232 h 880858"/>
                  <a:gd name="connsiteX12" fmla="*/ 160401 w 1227862"/>
                  <a:gd name="connsiteY12" fmla="*/ 368039 h 880858"/>
                  <a:gd name="connsiteX13" fmla="*/ 321278 w 1227862"/>
                  <a:gd name="connsiteY13" fmla="*/ 235546 h 880858"/>
                  <a:gd name="connsiteX14" fmla="*/ 840772 w 1227862"/>
                  <a:gd name="connsiteY14" fmla="*/ 169919 h 880858"/>
                  <a:gd name="connsiteX15" fmla="*/ 980122 w 1227862"/>
                  <a:gd name="connsiteY15" fmla="*/ 208209 h 880858"/>
                  <a:gd name="connsiteX16" fmla="*/ 1128618 w 1227862"/>
                  <a:gd name="connsiteY16" fmla="*/ 136486 h 880858"/>
                  <a:gd name="connsiteX17" fmla="*/ 819817 w 1227862"/>
                  <a:gd name="connsiteY17" fmla="*/ 2469 h 880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7862" h="880858">
                    <a:moveTo>
                      <a:pt x="1076325" y="461955"/>
                    </a:moveTo>
                    <a:cubicBezTo>
                      <a:pt x="1059561" y="557967"/>
                      <a:pt x="991076" y="633977"/>
                      <a:pt x="900970" y="645311"/>
                    </a:cubicBezTo>
                    <a:lnTo>
                      <a:pt x="381571" y="710843"/>
                    </a:lnTo>
                    <a:cubicBezTo>
                      <a:pt x="310515" y="719702"/>
                      <a:pt x="242602" y="686555"/>
                      <a:pt x="197263" y="628643"/>
                    </a:cubicBezTo>
                    <a:lnTo>
                      <a:pt x="35052" y="649217"/>
                    </a:lnTo>
                    <a:cubicBezTo>
                      <a:pt x="103346" y="800855"/>
                      <a:pt x="248793" y="897819"/>
                      <a:pt x="402717" y="878388"/>
                    </a:cubicBezTo>
                    <a:lnTo>
                      <a:pt x="922116" y="812856"/>
                    </a:lnTo>
                    <a:cubicBezTo>
                      <a:pt x="1109281" y="789234"/>
                      <a:pt x="1241584" y="601973"/>
                      <a:pt x="1226725" y="389184"/>
                    </a:cubicBezTo>
                    <a:lnTo>
                      <a:pt x="1076325" y="461955"/>
                    </a:lnTo>
                    <a:close/>
                    <a:moveTo>
                      <a:pt x="819817" y="2469"/>
                    </a:moveTo>
                    <a:lnTo>
                      <a:pt x="300228" y="68001"/>
                    </a:lnTo>
                    <a:cubicBezTo>
                      <a:pt x="144209" y="87718"/>
                      <a:pt x="26289" y="221068"/>
                      <a:pt x="0" y="388232"/>
                    </a:cubicBezTo>
                    <a:lnTo>
                      <a:pt x="160401" y="368039"/>
                    </a:lnTo>
                    <a:cubicBezTo>
                      <a:pt x="188690" y="297077"/>
                      <a:pt x="247841" y="244690"/>
                      <a:pt x="321278" y="235546"/>
                    </a:cubicBezTo>
                    <a:lnTo>
                      <a:pt x="840772" y="169919"/>
                    </a:lnTo>
                    <a:cubicBezTo>
                      <a:pt x="891064" y="163537"/>
                      <a:pt x="939832" y="178491"/>
                      <a:pt x="980122" y="208209"/>
                    </a:cubicBezTo>
                    <a:lnTo>
                      <a:pt x="1128618" y="136486"/>
                    </a:lnTo>
                    <a:cubicBezTo>
                      <a:pt x="1051846" y="41522"/>
                      <a:pt x="938308" y="-12485"/>
                      <a:pt x="819817" y="2469"/>
                    </a:cubicBezTo>
                    <a:close/>
                  </a:path>
                </a:pathLst>
              </a:custGeom>
              <a:grpFill/>
              <a:ln w="9525" cap="flat">
                <a:noFill/>
                <a:prstDash val="solid"/>
                <a:miter/>
              </a:ln>
            </p:spPr>
            <p:txBody>
              <a:bodyPr rtlCol="0" anchor="ctr"/>
              <a:lstStyle/>
              <a:p>
                <a:endParaRPr lang="es-ES" sz="1600"/>
              </a:p>
            </p:txBody>
          </p:sp>
          <p:sp>
            <p:nvSpPr>
              <p:cNvPr id="105" name="Forma libre: forma 104">
                <a:extLst>
                  <a:ext uri="{FF2B5EF4-FFF2-40B4-BE49-F238E27FC236}">
                    <a16:creationId xmlns:a16="http://schemas.microsoft.com/office/drawing/2014/main" id="{F9E5E5A3-868C-47D6-99AB-E5C013B0326C}"/>
                  </a:ext>
                </a:extLst>
              </p:cNvPr>
              <p:cNvSpPr/>
              <p:nvPr/>
            </p:nvSpPr>
            <p:spPr>
              <a:xfrm>
                <a:off x="4762052" y="2048562"/>
                <a:ext cx="947172" cy="269363"/>
              </a:xfrm>
              <a:custGeom>
                <a:avLst/>
                <a:gdLst>
                  <a:gd name="connsiteX0" fmla="*/ 884019 w 947172"/>
                  <a:gd name="connsiteY0" fmla="*/ 167972 h 269363"/>
                  <a:gd name="connsiteX1" fmla="*/ 946407 w 947172"/>
                  <a:gd name="connsiteY1" fmla="*/ 75008 h 269363"/>
                  <a:gd name="connsiteX2" fmla="*/ 862873 w 947172"/>
                  <a:gd name="connsiteY2" fmla="*/ 522 h 269363"/>
                  <a:gd name="connsiteX3" fmla="*/ 63154 w 947172"/>
                  <a:gd name="connsiteY3" fmla="*/ 101392 h 269363"/>
                  <a:gd name="connsiteX4" fmla="*/ 765 w 947172"/>
                  <a:gd name="connsiteY4" fmla="*/ 194356 h 269363"/>
                  <a:gd name="connsiteX5" fmla="*/ 84299 w 947172"/>
                  <a:gd name="connsiteY5" fmla="*/ 268842 h 269363"/>
                  <a:gd name="connsiteX6" fmla="*/ 884019 w 947172"/>
                  <a:gd name="connsiteY6" fmla="*/ 167972 h 269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172" h="269363">
                    <a:moveTo>
                      <a:pt x="884019" y="167972"/>
                    </a:moveTo>
                    <a:cubicBezTo>
                      <a:pt x="924309" y="162924"/>
                      <a:pt x="952217" y="121299"/>
                      <a:pt x="946407" y="75008"/>
                    </a:cubicBezTo>
                    <a:cubicBezTo>
                      <a:pt x="940597" y="28812"/>
                      <a:pt x="903164" y="-4621"/>
                      <a:pt x="862873" y="522"/>
                    </a:cubicBezTo>
                    <a:lnTo>
                      <a:pt x="63154" y="101392"/>
                    </a:lnTo>
                    <a:cubicBezTo>
                      <a:pt x="22863" y="106440"/>
                      <a:pt x="-5045" y="148065"/>
                      <a:pt x="765" y="194356"/>
                    </a:cubicBezTo>
                    <a:cubicBezTo>
                      <a:pt x="6575" y="240552"/>
                      <a:pt x="44009" y="273985"/>
                      <a:pt x="84299" y="268842"/>
                    </a:cubicBezTo>
                    <a:lnTo>
                      <a:pt x="884019" y="167972"/>
                    </a:lnTo>
                    <a:close/>
                  </a:path>
                </a:pathLst>
              </a:custGeom>
              <a:grpFill/>
              <a:ln w="9525" cap="flat">
                <a:noFill/>
                <a:prstDash val="solid"/>
                <a:miter/>
              </a:ln>
            </p:spPr>
            <p:txBody>
              <a:bodyPr rtlCol="0" anchor="ctr"/>
              <a:lstStyle/>
              <a:p>
                <a:endParaRPr lang="es-ES" sz="1600"/>
              </a:p>
            </p:txBody>
          </p:sp>
        </p:grpSp>
        <p:sp>
          <p:nvSpPr>
            <p:cNvPr id="97" name="Forma libre: forma 96">
              <a:extLst>
                <a:ext uri="{FF2B5EF4-FFF2-40B4-BE49-F238E27FC236}">
                  <a16:creationId xmlns:a16="http://schemas.microsoft.com/office/drawing/2014/main" id="{CF9B1F64-B4A4-44BF-A5C7-04B8C3BA635D}"/>
                </a:ext>
              </a:extLst>
            </p:cNvPr>
            <p:cNvSpPr/>
            <p:nvPr/>
          </p:nvSpPr>
          <p:spPr>
            <a:xfrm>
              <a:off x="4593734" y="1643502"/>
              <a:ext cx="129699" cy="151505"/>
            </a:xfrm>
            <a:custGeom>
              <a:avLst/>
              <a:gdLst>
                <a:gd name="connsiteX0" fmla="*/ 151829 w 151828"/>
                <a:gd name="connsiteY0" fmla="*/ 177356 h 177355"/>
                <a:gd name="connsiteX1" fmla="*/ 0 w 151828"/>
                <a:gd name="connsiteY1" fmla="*/ 161163 h 177355"/>
                <a:gd name="connsiteX2" fmla="*/ 100870 w 151828"/>
                <a:gd name="connsiteY2" fmla="*/ 0 h 177355"/>
              </a:gdLst>
              <a:ahLst/>
              <a:cxnLst>
                <a:cxn ang="0">
                  <a:pos x="connsiteX0" y="connsiteY0"/>
                </a:cxn>
                <a:cxn ang="0">
                  <a:pos x="connsiteX1" y="connsiteY1"/>
                </a:cxn>
                <a:cxn ang="0">
                  <a:pos x="connsiteX2" y="connsiteY2"/>
                </a:cxn>
              </a:cxnLst>
              <a:rect l="l" t="t" r="r" b="b"/>
              <a:pathLst>
                <a:path w="151828" h="177355">
                  <a:moveTo>
                    <a:pt x="151829" y="177356"/>
                  </a:moveTo>
                  <a:lnTo>
                    <a:pt x="0" y="161163"/>
                  </a:lnTo>
                  <a:lnTo>
                    <a:pt x="100870" y="0"/>
                  </a:lnTo>
                  <a:close/>
                </a:path>
              </a:pathLst>
            </a:custGeom>
            <a:grpFill/>
            <a:ln w="9525" cap="flat">
              <a:noFill/>
              <a:prstDash val="solid"/>
              <a:miter/>
            </a:ln>
          </p:spPr>
          <p:txBody>
            <a:bodyPr rtlCol="0" anchor="ctr"/>
            <a:lstStyle/>
            <a:p>
              <a:endParaRPr lang="es-ES" sz="1600"/>
            </a:p>
          </p:txBody>
        </p:sp>
        <p:sp>
          <p:nvSpPr>
            <p:cNvPr id="98" name="Forma libre: forma 97">
              <a:extLst>
                <a:ext uri="{FF2B5EF4-FFF2-40B4-BE49-F238E27FC236}">
                  <a16:creationId xmlns:a16="http://schemas.microsoft.com/office/drawing/2014/main" id="{1EE981E5-6684-4028-BF6E-71C10B344834}"/>
                </a:ext>
              </a:extLst>
            </p:cNvPr>
            <p:cNvSpPr/>
            <p:nvPr/>
          </p:nvSpPr>
          <p:spPr>
            <a:xfrm>
              <a:off x="4882587" y="2052534"/>
              <a:ext cx="81774" cy="90968"/>
            </a:xfrm>
            <a:custGeom>
              <a:avLst/>
              <a:gdLst>
                <a:gd name="connsiteX0" fmla="*/ 95726 w 95726"/>
                <a:gd name="connsiteY0" fmla="*/ 24098 h 106489"/>
                <a:gd name="connsiteX1" fmla="*/ 1905 w 95726"/>
                <a:gd name="connsiteY1" fmla="*/ 106490 h 106489"/>
                <a:gd name="connsiteX2" fmla="*/ 0 w 95726"/>
                <a:gd name="connsiteY2" fmla="*/ 0 h 106489"/>
              </a:gdLst>
              <a:ahLst/>
              <a:cxnLst>
                <a:cxn ang="0">
                  <a:pos x="connsiteX0" y="connsiteY0"/>
                </a:cxn>
                <a:cxn ang="0">
                  <a:pos x="connsiteX1" y="connsiteY1"/>
                </a:cxn>
                <a:cxn ang="0">
                  <a:pos x="connsiteX2" y="connsiteY2"/>
                </a:cxn>
              </a:cxnLst>
              <a:rect l="l" t="t" r="r" b="b"/>
              <a:pathLst>
                <a:path w="95726" h="106489">
                  <a:moveTo>
                    <a:pt x="95726" y="24098"/>
                  </a:moveTo>
                  <a:lnTo>
                    <a:pt x="1905" y="106490"/>
                  </a:lnTo>
                  <a:lnTo>
                    <a:pt x="0" y="0"/>
                  </a:lnTo>
                  <a:close/>
                </a:path>
              </a:pathLst>
            </a:custGeom>
            <a:grpFill/>
            <a:ln w="9525" cap="flat">
              <a:noFill/>
              <a:prstDash val="solid"/>
              <a:miter/>
            </a:ln>
          </p:spPr>
          <p:txBody>
            <a:bodyPr rtlCol="0" anchor="ctr"/>
            <a:lstStyle/>
            <a:p>
              <a:endParaRPr lang="es-ES" sz="1600"/>
            </a:p>
          </p:txBody>
        </p:sp>
        <p:sp>
          <p:nvSpPr>
            <p:cNvPr id="99" name="Forma libre: forma 98">
              <a:extLst>
                <a:ext uri="{FF2B5EF4-FFF2-40B4-BE49-F238E27FC236}">
                  <a16:creationId xmlns:a16="http://schemas.microsoft.com/office/drawing/2014/main" id="{C0CDAD77-1458-4B1C-A62A-17BFFDED7A3A}"/>
                </a:ext>
              </a:extLst>
            </p:cNvPr>
            <p:cNvSpPr/>
            <p:nvPr/>
          </p:nvSpPr>
          <p:spPr>
            <a:xfrm>
              <a:off x="4832058" y="1846269"/>
              <a:ext cx="83889" cy="97558"/>
            </a:xfrm>
            <a:custGeom>
              <a:avLst/>
              <a:gdLst>
                <a:gd name="connsiteX0" fmla="*/ 0 w 98202"/>
                <a:gd name="connsiteY0" fmla="*/ 31337 h 114204"/>
                <a:gd name="connsiteX1" fmla="*/ 75438 w 98202"/>
                <a:gd name="connsiteY1" fmla="*/ 0 h 114204"/>
                <a:gd name="connsiteX2" fmla="*/ 98203 w 98202"/>
                <a:gd name="connsiteY2" fmla="*/ 76867 h 114204"/>
                <a:gd name="connsiteX3" fmla="*/ 22479 w 98202"/>
                <a:gd name="connsiteY3" fmla="*/ 114205 h 114204"/>
              </a:gdLst>
              <a:ahLst/>
              <a:cxnLst>
                <a:cxn ang="0">
                  <a:pos x="connsiteX0" y="connsiteY0"/>
                </a:cxn>
                <a:cxn ang="0">
                  <a:pos x="connsiteX1" y="connsiteY1"/>
                </a:cxn>
                <a:cxn ang="0">
                  <a:pos x="connsiteX2" y="connsiteY2"/>
                </a:cxn>
                <a:cxn ang="0">
                  <a:pos x="connsiteX3" y="connsiteY3"/>
                </a:cxn>
              </a:cxnLst>
              <a:rect l="l" t="t" r="r" b="b"/>
              <a:pathLst>
                <a:path w="98202" h="114204">
                  <a:moveTo>
                    <a:pt x="0" y="31337"/>
                  </a:moveTo>
                  <a:lnTo>
                    <a:pt x="75438" y="0"/>
                  </a:lnTo>
                  <a:lnTo>
                    <a:pt x="98203" y="76867"/>
                  </a:lnTo>
                  <a:lnTo>
                    <a:pt x="22479" y="114205"/>
                  </a:lnTo>
                  <a:close/>
                </a:path>
              </a:pathLst>
            </a:custGeom>
            <a:grpFill/>
            <a:ln w="9525" cap="flat">
              <a:noFill/>
              <a:prstDash val="solid"/>
              <a:miter/>
            </a:ln>
          </p:spPr>
          <p:txBody>
            <a:bodyPr rtlCol="0" anchor="ctr"/>
            <a:lstStyle/>
            <a:p>
              <a:endParaRPr lang="es-ES" sz="1600"/>
            </a:p>
          </p:txBody>
        </p:sp>
      </p:grpSp>
      <p:sp>
        <p:nvSpPr>
          <p:cNvPr id="106" name="CuadroTexto 105">
            <a:extLst>
              <a:ext uri="{FF2B5EF4-FFF2-40B4-BE49-F238E27FC236}">
                <a16:creationId xmlns:a16="http://schemas.microsoft.com/office/drawing/2014/main" id="{7299AFBF-5D6E-4845-AB05-CAE742090782}"/>
              </a:ext>
            </a:extLst>
          </p:cNvPr>
          <p:cNvSpPr txBox="1"/>
          <p:nvPr/>
        </p:nvSpPr>
        <p:spPr>
          <a:xfrm>
            <a:off x="5269823" y="702092"/>
            <a:ext cx="3341521" cy="400110"/>
          </a:xfrm>
          <a:prstGeom prst="rect">
            <a:avLst/>
          </a:prstGeom>
          <a:noFill/>
        </p:spPr>
        <p:txBody>
          <a:bodyPr wrap="square">
            <a:spAutoFit/>
          </a:bodyPr>
          <a:lstStyle/>
          <a:p>
            <a:pPr algn="ctr"/>
            <a:r>
              <a:rPr lang="es-ES" sz="2000" dirty="0">
                <a:solidFill>
                  <a:schemeClr val="bg1"/>
                </a:solidFill>
                <a:highlight>
                  <a:srgbClr val="F05C1D"/>
                </a:highlight>
              </a:rPr>
              <a:t>DÓNDE LO HACEMOS</a:t>
            </a:r>
          </a:p>
        </p:txBody>
      </p:sp>
      <p:sp>
        <p:nvSpPr>
          <p:cNvPr id="107" name="CuadroTexto 106">
            <a:extLst>
              <a:ext uri="{FF2B5EF4-FFF2-40B4-BE49-F238E27FC236}">
                <a16:creationId xmlns:a16="http://schemas.microsoft.com/office/drawing/2014/main" id="{1383F4E1-1C26-4B44-B3F1-2B05DFADF69A}"/>
              </a:ext>
            </a:extLst>
          </p:cNvPr>
          <p:cNvSpPr txBox="1"/>
          <p:nvPr/>
        </p:nvSpPr>
        <p:spPr>
          <a:xfrm>
            <a:off x="425578" y="701097"/>
            <a:ext cx="2475746" cy="400110"/>
          </a:xfrm>
          <a:prstGeom prst="rect">
            <a:avLst/>
          </a:prstGeom>
          <a:noFill/>
        </p:spPr>
        <p:txBody>
          <a:bodyPr wrap="square">
            <a:spAutoFit/>
          </a:bodyPr>
          <a:lstStyle/>
          <a:p>
            <a:pPr algn="ctr"/>
            <a:r>
              <a:rPr lang="es-ES" sz="2000" dirty="0">
                <a:solidFill>
                  <a:schemeClr val="bg1"/>
                </a:solidFill>
                <a:highlight>
                  <a:srgbClr val="F05C1D"/>
                </a:highlight>
              </a:rPr>
              <a:t>QUÉ HACEMOS</a:t>
            </a:r>
          </a:p>
        </p:txBody>
      </p:sp>
      <p:sp>
        <p:nvSpPr>
          <p:cNvPr id="108" name="CuadroTexto 107">
            <a:extLst>
              <a:ext uri="{FF2B5EF4-FFF2-40B4-BE49-F238E27FC236}">
                <a16:creationId xmlns:a16="http://schemas.microsoft.com/office/drawing/2014/main" id="{EF002E41-C546-4BB9-A4E9-72B91A7CB72F}"/>
              </a:ext>
            </a:extLst>
          </p:cNvPr>
          <p:cNvSpPr txBox="1"/>
          <p:nvPr/>
        </p:nvSpPr>
        <p:spPr>
          <a:xfrm>
            <a:off x="201798" y="2006064"/>
            <a:ext cx="8619133" cy="723275"/>
          </a:xfrm>
          <a:prstGeom prst="rect">
            <a:avLst/>
          </a:prstGeom>
          <a:noFill/>
        </p:spPr>
        <p:txBody>
          <a:bodyPr wrap="square">
            <a:spAutoFit/>
          </a:bodyPr>
          <a:lstStyle/>
          <a:p>
            <a:pPr algn="ctr"/>
            <a:r>
              <a:rPr lang="es-ES" sz="3200" b="1" i="1" dirty="0">
                <a:solidFill>
                  <a:schemeClr val="tx2"/>
                </a:solidFill>
              </a:rPr>
              <a:t>Un puesto de trabajo deslocalizado</a:t>
            </a:r>
          </a:p>
          <a:p>
            <a:endParaRPr lang="es-ES" sz="800" i="1" dirty="0">
              <a:solidFill>
                <a:schemeClr val="tx2"/>
              </a:solidFill>
            </a:endParaRPr>
          </a:p>
        </p:txBody>
      </p:sp>
      <p:sp>
        <p:nvSpPr>
          <p:cNvPr id="109" name="CuadroTexto 108">
            <a:extLst>
              <a:ext uri="{FF2B5EF4-FFF2-40B4-BE49-F238E27FC236}">
                <a16:creationId xmlns:a16="http://schemas.microsoft.com/office/drawing/2014/main" id="{D478037A-49B6-4C3D-82C5-0C5F6AFEF027}"/>
              </a:ext>
            </a:extLst>
          </p:cNvPr>
          <p:cNvSpPr txBox="1"/>
          <p:nvPr/>
        </p:nvSpPr>
        <p:spPr>
          <a:xfrm>
            <a:off x="358082" y="2565981"/>
            <a:ext cx="8432688" cy="646331"/>
          </a:xfrm>
          <a:prstGeom prst="rect">
            <a:avLst/>
          </a:prstGeom>
          <a:noFill/>
        </p:spPr>
        <p:txBody>
          <a:bodyPr wrap="square">
            <a:spAutoFit/>
          </a:bodyPr>
          <a:lstStyle/>
          <a:p>
            <a:pPr algn="ctr"/>
            <a:r>
              <a:rPr lang="es-ES" sz="1600" i="1" dirty="0">
                <a:solidFill>
                  <a:schemeClr val="bg1"/>
                </a:solidFill>
                <a:highlight>
                  <a:srgbClr val="074E8E"/>
                </a:highlight>
              </a:rPr>
              <a:t>Que cambia el paradigma tradicional del puesto de trabajo asociado a un espacio físico, especifico e inamovible para abordar un puesto de </a:t>
            </a:r>
            <a:r>
              <a:rPr lang="es-ES" sz="2000" b="1" i="1" dirty="0">
                <a:solidFill>
                  <a:schemeClr val="accent1"/>
                </a:solidFill>
                <a:highlight>
                  <a:srgbClr val="074E8E"/>
                </a:highlight>
              </a:rPr>
              <a:t>trabajo dinámico.</a:t>
            </a:r>
            <a:endParaRPr lang="es-ES" sz="1400" b="1" i="1" dirty="0">
              <a:solidFill>
                <a:schemeClr val="accent1"/>
              </a:solidFill>
              <a:highlight>
                <a:srgbClr val="074E8E"/>
              </a:highlight>
            </a:endParaRPr>
          </a:p>
        </p:txBody>
      </p:sp>
      <p:sp>
        <p:nvSpPr>
          <p:cNvPr id="321" name="Forma libre: forma 320">
            <a:extLst>
              <a:ext uri="{FF2B5EF4-FFF2-40B4-BE49-F238E27FC236}">
                <a16:creationId xmlns:a16="http://schemas.microsoft.com/office/drawing/2014/main" id="{7C0EED62-2104-46F4-9628-0164E3360A8B}"/>
              </a:ext>
            </a:extLst>
          </p:cNvPr>
          <p:cNvSpPr/>
          <p:nvPr/>
        </p:nvSpPr>
        <p:spPr>
          <a:xfrm rot="16240567">
            <a:off x="5650694" y="4878729"/>
            <a:ext cx="1092414" cy="1092414"/>
          </a:xfrm>
          <a:custGeom>
            <a:avLst/>
            <a:gdLst>
              <a:gd name="connsiteX0" fmla="*/ 1487379 w 1487378"/>
              <a:gd name="connsiteY0" fmla="*/ 743689 h 1487378"/>
              <a:gd name="connsiteX1" fmla="*/ 743690 w 1487378"/>
              <a:gd name="connsiteY1" fmla="*/ 1487379 h 1487378"/>
              <a:gd name="connsiteX2" fmla="*/ 0 w 1487378"/>
              <a:gd name="connsiteY2" fmla="*/ 743689 h 1487378"/>
              <a:gd name="connsiteX3" fmla="*/ 743690 w 1487378"/>
              <a:gd name="connsiteY3" fmla="*/ 0 h 1487378"/>
              <a:gd name="connsiteX4" fmla="*/ 1487379 w 1487378"/>
              <a:gd name="connsiteY4" fmla="*/ 743689 h 1487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378" h="1487378">
                <a:moveTo>
                  <a:pt x="1487379" y="743689"/>
                </a:moveTo>
                <a:cubicBezTo>
                  <a:pt x="1487379" y="1154418"/>
                  <a:pt x="1154418" y="1487379"/>
                  <a:pt x="743690" y="1487379"/>
                </a:cubicBezTo>
                <a:cubicBezTo>
                  <a:pt x="332961" y="1487379"/>
                  <a:pt x="0" y="1154418"/>
                  <a:pt x="0" y="743689"/>
                </a:cubicBezTo>
                <a:cubicBezTo>
                  <a:pt x="0" y="332961"/>
                  <a:pt x="332961" y="0"/>
                  <a:pt x="743690" y="0"/>
                </a:cubicBezTo>
                <a:cubicBezTo>
                  <a:pt x="1154418" y="0"/>
                  <a:pt x="1487379" y="332961"/>
                  <a:pt x="1487379" y="743689"/>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22" name="Forma libre: forma 321">
            <a:extLst>
              <a:ext uri="{FF2B5EF4-FFF2-40B4-BE49-F238E27FC236}">
                <a16:creationId xmlns:a16="http://schemas.microsoft.com/office/drawing/2014/main" id="{333D5FB6-25DA-4E36-A276-969109B195A8}"/>
              </a:ext>
            </a:extLst>
          </p:cNvPr>
          <p:cNvSpPr/>
          <p:nvPr/>
        </p:nvSpPr>
        <p:spPr>
          <a:xfrm rot="16244349">
            <a:off x="4040307" y="5054398"/>
            <a:ext cx="1092429" cy="1092429"/>
          </a:xfrm>
          <a:custGeom>
            <a:avLst/>
            <a:gdLst>
              <a:gd name="connsiteX0" fmla="*/ 1487399 w 1487399"/>
              <a:gd name="connsiteY0" fmla="*/ 743700 h 1487399"/>
              <a:gd name="connsiteX1" fmla="*/ 743700 w 1487399"/>
              <a:gd name="connsiteY1" fmla="*/ 1487399 h 1487399"/>
              <a:gd name="connsiteX2" fmla="*/ 0 w 1487399"/>
              <a:gd name="connsiteY2" fmla="*/ 743700 h 1487399"/>
              <a:gd name="connsiteX3" fmla="*/ 743700 w 1487399"/>
              <a:gd name="connsiteY3" fmla="*/ 0 h 1487399"/>
              <a:gd name="connsiteX4" fmla="*/ 1487399 w 1487399"/>
              <a:gd name="connsiteY4" fmla="*/ 743700 h 14873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399" h="1487399">
                <a:moveTo>
                  <a:pt x="1487399" y="743700"/>
                </a:moveTo>
                <a:cubicBezTo>
                  <a:pt x="1487399" y="1154434"/>
                  <a:pt x="1154433" y="1487399"/>
                  <a:pt x="743700" y="1487399"/>
                </a:cubicBezTo>
                <a:cubicBezTo>
                  <a:pt x="332966" y="1487399"/>
                  <a:pt x="0" y="1154434"/>
                  <a:pt x="0" y="743700"/>
                </a:cubicBezTo>
                <a:cubicBezTo>
                  <a:pt x="0" y="332966"/>
                  <a:pt x="332966" y="0"/>
                  <a:pt x="743700" y="0"/>
                </a:cubicBezTo>
                <a:cubicBezTo>
                  <a:pt x="1154434" y="0"/>
                  <a:pt x="1487399" y="332966"/>
                  <a:pt x="1487399" y="743700"/>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23" name="Forma libre: forma 322">
            <a:extLst>
              <a:ext uri="{FF2B5EF4-FFF2-40B4-BE49-F238E27FC236}">
                <a16:creationId xmlns:a16="http://schemas.microsoft.com/office/drawing/2014/main" id="{1AD5CF06-E6F7-4651-9461-1EABF77401A9}"/>
              </a:ext>
            </a:extLst>
          </p:cNvPr>
          <p:cNvSpPr/>
          <p:nvPr/>
        </p:nvSpPr>
        <p:spPr>
          <a:xfrm rot="16240567">
            <a:off x="1997909" y="4865315"/>
            <a:ext cx="1092414" cy="1092414"/>
          </a:xfrm>
          <a:custGeom>
            <a:avLst/>
            <a:gdLst>
              <a:gd name="connsiteX0" fmla="*/ 1487379 w 1487378"/>
              <a:gd name="connsiteY0" fmla="*/ 743689 h 1487378"/>
              <a:gd name="connsiteX1" fmla="*/ 743689 w 1487378"/>
              <a:gd name="connsiteY1" fmla="*/ 1487379 h 1487378"/>
              <a:gd name="connsiteX2" fmla="*/ 0 w 1487378"/>
              <a:gd name="connsiteY2" fmla="*/ 743689 h 1487378"/>
              <a:gd name="connsiteX3" fmla="*/ 743689 w 1487378"/>
              <a:gd name="connsiteY3" fmla="*/ 0 h 1487378"/>
              <a:gd name="connsiteX4" fmla="*/ 1487379 w 1487378"/>
              <a:gd name="connsiteY4" fmla="*/ 743689 h 14873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378" h="1487378">
                <a:moveTo>
                  <a:pt x="1487379" y="743689"/>
                </a:moveTo>
                <a:cubicBezTo>
                  <a:pt x="1487379" y="1154418"/>
                  <a:pt x="1154418" y="1487379"/>
                  <a:pt x="743689" y="1487379"/>
                </a:cubicBezTo>
                <a:cubicBezTo>
                  <a:pt x="332961" y="1487379"/>
                  <a:pt x="0" y="1154418"/>
                  <a:pt x="0" y="743689"/>
                </a:cubicBezTo>
                <a:cubicBezTo>
                  <a:pt x="0" y="332961"/>
                  <a:pt x="332961" y="0"/>
                  <a:pt x="743689" y="0"/>
                </a:cubicBezTo>
                <a:cubicBezTo>
                  <a:pt x="1154418" y="0"/>
                  <a:pt x="1487379" y="332961"/>
                  <a:pt x="1487379" y="743689"/>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24" name="Forma libre: forma 323">
            <a:extLst>
              <a:ext uri="{FF2B5EF4-FFF2-40B4-BE49-F238E27FC236}">
                <a16:creationId xmlns:a16="http://schemas.microsoft.com/office/drawing/2014/main" id="{7A8A15DA-BF78-4F40-8DE0-B665FB854530}"/>
              </a:ext>
            </a:extLst>
          </p:cNvPr>
          <p:cNvSpPr/>
          <p:nvPr/>
        </p:nvSpPr>
        <p:spPr>
          <a:xfrm>
            <a:off x="4150283" y="5164247"/>
            <a:ext cx="872643" cy="872643"/>
          </a:xfrm>
          <a:custGeom>
            <a:avLst/>
            <a:gdLst>
              <a:gd name="connsiteX0" fmla="*/ 0 w 1188148"/>
              <a:gd name="connsiteY0" fmla="*/ 594074 h 1188148"/>
              <a:gd name="connsiteX1" fmla="*/ 594074 w 1188148"/>
              <a:gd name="connsiteY1" fmla="*/ 0 h 1188148"/>
              <a:gd name="connsiteX2" fmla="*/ 1188148 w 1188148"/>
              <a:gd name="connsiteY2" fmla="*/ 594074 h 1188148"/>
              <a:gd name="connsiteX3" fmla="*/ 594074 w 1188148"/>
              <a:gd name="connsiteY3" fmla="*/ 1188149 h 1188148"/>
              <a:gd name="connsiteX4" fmla="*/ 0 w 1188148"/>
              <a:gd name="connsiteY4" fmla="*/ 594074 h 1188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148" h="1188148">
                <a:moveTo>
                  <a:pt x="0" y="594074"/>
                </a:moveTo>
                <a:cubicBezTo>
                  <a:pt x="0" y="266033"/>
                  <a:pt x="266033" y="0"/>
                  <a:pt x="594074" y="0"/>
                </a:cubicBezTo>
                <a:cubicBezTo>
                  <a:pt x="922210" y="0"/>
                  <a:pt x="1188148" y="266033"/>
                  <a:pt x="1188148" y="594074"/>
                </a:cubicBezTo>
                <a:cubicBezTo>
                  <a:pt x="1188148" y="922210"/>
                  <a:pt x="922115" y="1188149"/>
                  <a:pt x="594074" y="1188149"/>
                </a:cubicBezTo>
                <a:cubicBezTo>
                  <a:pt x="265938" y="1188149"/>
                  <a:pt x="0" y="922210"/>
                  <a:pt x="0" y="594074"/>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25" name="Forma libre: forma 324">
            <a:extLst>
              <a:ext uri="{FF2B5EF4-FFF2-40B4-BE49-F238E27FC236}">
                <a16:creationId xmlns:a16="http://schemas.microsoft.com/office/drawing/2014/main" id="{481B3599-5A7C-4F35-8B4B-E94432C2FB44}"/>
              </a:ext>
            </a:extLst>
          </p:cNvPr>
          <p:cNvSpPr/>
          <p:nvPr/>
        </p:nvSpPr>
        <p:spPr>
          <a:xfrm>
            <a:off x="5760716" y="4988482"/>
            <a:ext cx="872643" cy="872643"/>
          </a:xfrm>
          <a:custGeom>
            <a:avLst/>
            <a:gdLst>
              <a:gd name="connsiteX0" fmla="*/ 0 w 1188148"/>
              <a:gd name="connsiteY0" fmla="*/ 594074 h 1188148"/>
              <a:gd name="connsiteX1" fmla="*/ 594074 w 1188148"/>
              <a:gd name="connsiteY1" fmla="*/ 0 h 1188148"/>
              <a:gd name="connsiteX2" fmla="*/ 1188148 w 1188148"/>
              <a:gd name="connsiteY2" fmla="*/ 594074 h 1188148"/>
              <a:gd name="connsiteX3" fmla="*/ 594074 w 1188148"/>
              <a:gd name="connsiteY3" fmla="*/ 1188148 h 1188148"/>
              <a:gd name="connsiteX4" fmla="*/ 0 w 1188148"/>
              <a:gd name="connsiteY4" fmla="*/ 594074 h 1188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148" h="1188148">
                <a:moveTo>
                  <a:pt x="0" y="594074"/>
                </a:moveTo>
                <a:cubicBezTo>
                  <a:pt x="0" y="266033"/>
                  <a:pt x="266033" y="0"/>
                  <a:pt x="594074" y="0"/>
                </a:cubicBezTo>
                <a:cubicBezTo>
                  <a:pt x="922211" y="0"/>
                  <a:pt x="1188148" y="266033"/>
                  <a:pt x="1188148" y="594074"/>
                </a:cubicBezTo>
                <a:cubicBezTo>
                  <a:pt x="1188148" y="922211"/>
                  <a:pt x="922115" y="1188148"/>
                  <a:pt x="594074" y="1188148"/>
                </a:cubicBezTo>
                <a:cubicBezTo>
                  <a:pt x="266033" y="1188148"/>
                  <a:pt x="0" y="922115"/>
                  <a:pt x="0" y="594074"/>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26" name="Forma libre: forma 325">
            <a:extLst>
              <a:ext uri="{FF2B5EF4-FFF2-40B4-BE49-F238E27FC236}">
                <a16:creationId xmlns:a16="http://schemas.microsoft.com/office/drawing/2014/main" id="{41F7323A-5815-4579-B905-16747486D06C}"/>
              </a:ext>
            </a:extLst>
          </p:cNvPr>
          <p:cNvSpPr/>
          <p:nvPr/>
        </p:nvSpPr>
        <p:spPr>
          <a:xfrm>
            <a:off x="2107870" y="4975244"/>
            <a:ext cx="872643" cy="872643"/>
          </a:xfrm>
          <a:custGeom>
            <a:avLst/>
            <a:gdLst>
              <a:gd name="connsiteX0" fmla="*/ 0 w 1188148"/>
              <a:gd name="connsiteY0" fmla="*/ 594074 h 1188148"/>
              <a:gd name="connsiteX1" fmla="*/ 594074 w 1188148"/>
              <a:gd name="connsiteY1" fmla="*/ 0 h 1188148"/>
              <a:gd name="connsiteX2" fmla="*/ 1188148 w 1188148"/>
              <a:gd name="connsiteY2" fmla="*/ 594074 h 1188148"/>
              <a:gd name="connsiteX3" fmla="*/ 594074 w 1188148"/>
              <a:gd name="connsiteY3" fmla="*/ 1188148 h 1188148"/>
              <a:gd name="connsiteX4" fmla="*/ 0 w 1188148"/>
              <a:gd name="connsiteY4" fmla="*/ 594074 h 1188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148" h="1188148">
                <a:moveTo>
                  <a:pt x="0" y="594074"/>
                </a:moveTo>
                <a:cubicBezTo>
                  <a:pt x="0" y="266033"/>
                  <a:pt x="266033" y="0"/>
                  <a:pt x="594074" y="0"/>
                </a:cubicBezTo>
                <a:cubicBezTo>
                  <a:pt x="922210" y="0"/>
                  <a:pt x="1188148" y="266033"/>
                  <a:pt x="1188148" y="594074"/>
                </a:cubicBezTo>
                <a:cubicBezTo>
                  <a:pt x="1188148" y="922211"/>
                  <a:pt x="922115" y="1188148"/>
                  <a:pt x="594074" y="1188148"/>
                </a:cubicBezTo>
                <a:cubicBezTo>
                  <a:pt x="266033" y="1188148"/>
                  <a:pt x="0" y="922115"/>
                  <a:pt x="0" y="594074"/>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grpSp>
        <p:nvGrpSpPr>
          <p:cNvPr id="327" name="Grupo 326">
            <a:extLst>
              <a:ext uri="{FF2B5EF4-FFF2-40B4-BE49-F238E27FC236}">
                <a16:creationId xmlns:a16="http://schemas.microsoft.com/office/drawing/2014/main" id="{6D806581-AD22-42D2-88D4-0248D55057B3}"/>
              </a:ext>
            </a:extLst>
          </p:cNvPr>
          <p:cNvGrpSpPr/>
          <p:nvPr/>
        </p:nvGrpSpPr>
        <p:grpSpPr>
          <a:xfrm>
            <a:off x="6004652" y="5341085"/>
            <a:ext cx="371170" cy="354026"/>
            <a:chOff x="8085204" y="1988762"/>
            <a:chExt cx="517717" cy="493803"/>
          </a:xfrm>
          <a:solidFill>
            <a:schemeClr val="tx2"/>
          </a:solidFill>
        </p:grpSpPr>
        <p:sp>
          <p:nvSpPr>
            <p:cNvPr id="328" name="Forma libre: forma 327">
              <a:extLst>
                <a:ext uri="{FF2B5EF4-FFF2-40B4-BE49-F238E27FC236}">
                  <a16:creationId xmlns:a16="http://schemas.microsoft.com/office/drawing/2014/main" id="{67F2852D-385E-4227-84EA-C0EBEA0931EB}"/>
                </a:ext>
              </a:extLst>
            </p:cNvPr>
            <p:cNvSpPr/>
            <p:nvPr/>
          </p:nvSpPr>
          <p:spPr>
            <a:xfrm>
              <a:off x="8283785" y="2199977"/>
              <a:ext cx="123266" cy="123266"/>
            </a:xfrm>
            <a:custGeom>
              <a:avLst/>
              <a:gdLst>
                <a:gd name="connsiteX0" fmla="*/ 61756 w 123265"/>
                <a:gd name="connsiteY0" fmla="*/ 123451 h 123265"/>
                <a:gd name="connsiteX1" fmla="*/ 61756 w 123265"/>
                <a:gd name="connsiteY1" fmla="*/ 123451 h 123265"/>
                <a:gd name="connsiteX2" fmla="*/ 123451 w 123265"/>
                <a:gd name="connsiteY2" fmla="*/ 61695 h 123265"/>
                <a:gd name="connsiteX3" fmla="*/ 61695 w 123265"/>
                <a:gd name="connsiteY3" fmla="*/ 0 h 123265"/>
                <a:gd name="connsiteX4" fmla="*/ 61695 w 123265"/>
                <a:gd name="connsiteY4" fmla="*/ 0 h 123265"/>
                <a:gd name="connsiteX5" fmla="*/ 0 w 123265"/>
                <a:gd name="connsiteY5" fmla="*/ 61756 h 123265"/>
                <a:gd name="connsiteX6" fmla="*/ 61756 w 123265"/>
                <a:gd name="connsiteY6" fmla="*/ 123451 h 123265"/>
                <a:gd name="connsiteX7" fmla="*/ 61756 w 123265"/>
                <a:gd name="connsiteY7" fmla="*/ 15963 h 123265"/>
                <a:gd name="connsiteX8" fmla="*/ 61756 w 123265"/>
                <a:gd name="connsiteY8" fmla="*/ 15963 h 123265"/>
                <a:gd name="connsiteX9" fmla="*/ 107488 w 123265"/>
                <a:gd name="connsiteY9" fmla="*/ 61633 h 123265"/>
                <a:gd name="connsiteX10" fmla="*/ 107488 w 123265"/>
                <a:gd name="connsiteY10" fmla="*/ 61633 h 123265"/>
                <a:gd name="connsiteX11" fmla="*/ 61818 w 123265"/>
                <a:gd name="connsiteY11" fmla="*/ 107365 h 123265"/>
                <a:gd name="connsiteX12" fmla="*/ 61818 w 123265"/>
                <a:gd name="connsiteY12" fmla="*/ 107365 h 123265"/>
                <a:gd name="connsiteX13" fmla="*/ 16086 w 123265"/>
                <a:gd name="connsiteY13" fmla="*/ 61633 h 123265"/>
                <a:gd name="connsiteX14" fmla="*/ 61756 w 123265"/>
                <a:gd name="connsiteY14" fmla="*/ 15963 h 12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265" h="123265">
                  <a:moveTo>
                    <a:pt x="61756" y="123451"/>
                  </a:moveTo>
                  <a:cubicBezTo>
                    <a:pt x="61756" y="123451"/>
                    <a:pt x="61756" y="123451"/>
                    <a:pt x="61756" y="123451"/>
                  </a:cubicBezTo>
                  <a:cubicBezTo>
                    <a:pt x="95840" y="123451"/>
                    <a:pt x="123513" y="95716"/>
                    <a:pt x="123451" y="61695"/>
                  </a:cubicBezTo>
                  <a:cubicBezTo>
                    <a:pt x="123451" y="27612"/>
                    <a:pt x="95840" y="0"/>
                    <a:pt x="61695" y="0"/>
                  </a:cubicBezTo>
                  <a:cubicBezTo>
                    <a:pt x="61695" y="0"/>
                    <a:pt x="61695" y="0"/>
                    <a:pt x="61695" y="0"/>
                  </a:cubicBezTo>
                  <a:cubicBezTo>
                    <a:pt x="27674" y="0"/>
                    <a:pt x="0" y="27735"/>
                    <a:pt x="0" y="61756"/>
                  </a:cubicBezTo>
                  <a:cubicBezTo>
                    <a:pt x="62" y="95901"/>
                    <a:pt x="27674" y="123451"/>
                    <a:pt x="61756" y="123451"/>
                  </a:cubicBezTo>
                  <a:close/>
                  <a:moveTo>
                    <a:pt x="61756" y="15963"/>
                  </a:moveTo>
                  <a:cubicBezTo>
                    <a:pt x="61756" y="15963"/>
                    <a:pt x="61756" y="15963"/>
                    <a:pt x="61756" y="15963"/>
                  </a:cubicBezTo>
                  <a:cubicBezTo>
                    <a:pt x="87026" y="15963"/>
                    <a:pt x="107488" y="36364"/>
                    <a:pt x="107488" y="61633"/>
                  </a:cubicBezTo>
                  <a:cubicBezTo>
                    <a:pt x="107488" y="61633"/>
                    <a:pt x="107488" y="61633"/>
                    <a:pt x="107488" y="61633"/>
                  </a:cubicBezTo>
                  <a:cubicBezTo>
                    <a:pt x="107488" y="86841"/>
                    <a:pt x="87026" y="107365"/>
                    <a:pt x="61818" y="107365"/>
                  </a:cubicBezTo>
                  <a:cubicBezTo>
                    <a:pt x="61818" y="107365"/>
                    <a:pt x="61818" y="107365"/>
                    <a:pt x="61818" y="107365"/>
                  </a:cubicBezTo>
                  <a:cubicBezTo>
                    <a:pt x="36549" y="107365"/>
                    <a:pt x="16086" y="86964"/>
                    <a:pt x="16086" y="61633"/>
                  </a:cubicBezTo>
                  <a:cubicBezTo>
                    <a:pt x="16025" y="36548"/>
                    <a:pt x="36549" y="16025"/>
                    <a:pt x="61756" y="15963"/>
                  </a:cubicBezTo>
                  <a:close/>
                </a:path>
              </a:pathLst>
            </a:custGeom>
            <a:grpFill/>
            <a:ln w="61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29" name="Forma libre: forma 328">
              <a:extLst>
                <a:ext uri="{FF2B5EF4-FFF2-40B4-BE49-F238E27FC236}">
                  <a16:creationId xmlns:a16="http://schemas.microsoft.com/office/drawing/2014/main" id="{014D897A-EF7A-4E29-AB2B-1A22F6133ECC}"/>
                </a:ext>
              </a:extLst>
            </p:cNvPr>
            <p:cNvSpPr/>
            <p:nvPr/>
          </p:nvSpPr>
          <p:spPr>
            <a:xfrm>
              <a:off x="8133401" y="2237944"/>
              <a:ext cx="92449" cy="92449"/>
            </a:xfrm>
            <a:custGeom>
              <a:avLst/>
              <a:gdLst>
                <a:gd name="connsiteX0" fmla="*/ 48012 w 92449"/>
                <a:gd name="connsiteY0" fmla="*/ 0 h 92449"/>
                <a:gd name="connsiteX1" fmla="*/ 48012 w 92449"/>
                <a:gd name="connsiteY1" fmla="*/ 0 h 92449"/>
                <a:gd name="connsiteX2" fmla="*/ 0 w 92449"/>
                <a:gd name="connsiteY2" fmla="*/ 48074 h 92449"/>
                <a:gd name="connsiteX3" fmla="*/ 48012 w 92449"/>
                <a:gd name="connsiteY3" fmla="*/ 96086 h 92449"/>
                <a:gd name="connsiteX4" fmla="*/ 48074 w 92449"/>
                <a:gd name="connsiteY4" fmla="*/ 96086 h 92449"/>
                <a:gd name="connsiteX5" fmla="*/ 96086 w 92449"/>
                <a:gd name="connsiteY5" fmla="*/ 48074 h 92449"/>
                <a:gd name="connsiteX6" fmla="*/ 48012 w 92449"/>
                <a:gd name="connsiteY6" fmla="*/ 0 h 92449"/>
                <a:gd name="connsiteX7" fmla="*/ 48012 w 92449"/>
                <a:gd name="connsiteY7" fmla="*/ 80000 h 92449"/>
                <a:gd name="connsiteX8" fmla="*/ 48012 w 92449"/>
                <a:gd name="connsiteY8" fmla="*/ 80000 h 92449"/>
                <a:gd name="connsiteX9" fmla="*/ 15963 w 92449"/>
                <a:gd name="connsiteY9" fmla="*/ 48012 h 92449"/>
                <a:gd name="connsiteX10" fmla="*/ 47950 w 92449"/>
                <a:gd name="connsiteY10" fmla="*/ 15963 h 92449"/>
                <a:gd name="connsiteX11" fmla="*/ 47950 w 92449"/>
                <a:gd name="connsiteY11" fmla="*/ 15963 h 92449"/>
                <a:gd name="connsiteX12" fmla="*/ 79938 w 92449"/>
                <a:gd name="connsiteY12" fmla="*/ 47950 h 92449"/>
                <a:gd name="connsiteX13" fmla="*/ 48012 w 92449"/>
                <a:gd name="connsiteY13" fmla="*/ 80000 h 9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449" h="92449">
                  <a:moveTo>
                    <a:pt x="48012" y="0"/>
                  </a:moveTo>
                  <a:cubicBezTo>
                    <a:pt x="48012" y="0"/>
                    <a:pt x="48012" y="0"/>
                    <a:pt x="48012" y="0"/>
                  </a:cubicBezTo>
                  <a:cubicBezTo>
                    <a:pt x="21510" y="0"/>
                    <a:pt x="0" y="21572"/>
                    <a:pt x="0" y="48074"/>
                  </a:cubicBezTo>
                  <a:cubicBezTo>
                    <a:pt x="0" y="74576"/>
                    <a:pt x="21448" y="96086"/>
                    <a:pt x="48012" y="96086"/>
                  </a:cubicBezTo>
                  <a:cubicBezTo>
                    <a:pt x="48012" y="96086"/>
                    <a:pt x="48012" y="96086"/>
                    <a:pt x="48074" y="96086"/>
                  </a:cubicBezTo>
                  <a:cubicBezTo>
                    <a:pt x="74637" y="96086"/>
                    <a:pt x="96086" y="74576"/>
                    <a:pt x="96086" y="48074"/>
                  </a:cubicBezTo>
                  <a:cubicBezTo>
                    <a:pt x="96024" y="21387"/>
                    <a:pt x="74514" y="0"/>
                    <a:pt x="48012" y="0"/>
                  </a:cubicBezTo>
                  <a:close/>
                  <a:moveTo>
                    <a:pt x="48012" y="80000"/>
                  </a:moveTo>
                  <a:cubicBezTo>
                    <a:pt x="48012" y="80000"/>
                    <a:pt x="48012" y="80000"/>
                    <a:pt x="48012" y="80000"/>
                  </a:cubicBezTo>
                  <a:cubicBezTo>
                    <a:pt x="30262" y="80000"/>
                    <a:pt x="15963" y="65639"/>
                    <a:pt x="15963" y="48012"/>
                  </a:cubicBezTo>
                  <a:cubicBezTo>
                    <a:pt x="15963" y="30385"/>
                    <a:pt x="30323" y="15963"/>
                    <a:pt x="47950" y="15963"/>
                  </a:cubicBezTo>
                  <a:cubicBezTo>
                    <a:pt x="47950" y="15963"/>
                    <a:pt x="47950" y="15963"/>
                    <a:pt x="47950" y="15963"/>
                  </a:cubicBezTo>
                  <a:cubicBezTo>
                    <a:pt x="65639" y="15963"/>
                    <a:pt x="79938" y="30262"/>
                    <a:pt x="79938" y="47950"/>
                  </a:cubicBezTo>
                  <a:cubicBezTo>
                    <a:pt x="79999" y="65762"/>
                    <a:pt x="65639" y="80000"/>
                    <a:pt x="48012" y="80000"/>
                  </a:cubicBezTo>
                  <a:close/>
                </a:path>
              </a:pathLst>
            </a:custGeom>
            <a:grpFill/>
            <a:ln w="61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30" name="Forma libre: forma 329">
              <a:extLst>
                <a:ext uri="{FF2B5EF4-FFF2-40B4-BE49-F238E27FC236}">
                  <a16:creationId xmlns:a16="http://schemas.microsoft.com/office/drawing/2014/main" id="{F0C6B9A9-E80B-4726-B6DA-BAFEC082A175}"/>
                </a:ext>
              </a:extLst>
            </p:cNvPr>
            <p:cNvSpPr/>
            <p:nvPr/>
          </p:nvSpPr>
          <p:spPr>
            <a:xfrm>
              <a:off x="8461659" y="2237821"/>
              <a:ext cx="92449" cy="92449"/>
            </a:xfrm>
            <a:custGeom>
              <a:avLst/>
              <a:gdLst>
                <a:gd name="connsiteX0" fmla="*/ 48012 w 92449"/>
                <a:gd name="connsiteY0" fmla="*/ 0 h 92449"/>
                <a:gd name="connsiteX1" fmla="*/ 48012 w 92449"/>
                <a:gd name="connsiteY1" fmla="*/ 0 h 92449"/>
                <a:gd name="connsiteX2" fmla="*/ 0 w 92449"/>
                <a:gd name="connsiteY2" fmla="*/ 48012 h 92449"/>
                <a:gd name="connsiteX3" fmla="*/ 48012 w 92449"/>
                <a:gd name="connsiteY3" fmla="*/ 96024 h 92449"/>
                <a:gd name="connsiteX4" fmla="*/ 48012 w 92449"/>
                <a:gd name="connsiteY4" fmla="*/ 96024 h 92449"/>
                <a:gd name="connsiteX5" fmla="*/ 96024 w 92449"/>
                <a:gd name="connsiteY5" fmla="*/ 48012 h 92449"/>
                <a:gd name="connsiteX6" fmla="*/ 48012 w 92449"/>
                <a:gd name="connsiteY6" fmla="*/ 0 h 92449"/>
                <a:gd name="connsiteX7" fmla="*/ 48012 w 92449"/>
                <a:gd name="connsiteY7" fmla="*/ 80000 h 92449"/>
                <a:gd name="connsiteX8" fmla="*/ 48012 w 92449"/>
                <a:gd name="connsiteY8" fmla="*/ 80000 h 92449"/>
                <a:gd name="connsiteX9" fmla="*/ 15963 w 92449"/>
                <a:gd name="connsiteY9" fmla="*/ 48012 h 92449"/>
                <a:gd name="connsiteX10" fmla="*/ 47950 w 92449"/>
                <a:gd name="connsiteY10" fmla="*/ 15963 h 92449"/>
                <a:gd name="connsiteX11" fmla="*/ 47950 w 92449"/>
                <a:gd name="connsiteY11" fmla="*/ 15963 h 92449"/>
                <a:gd name="connsiteX12" fmla="*/ 79938 w 92449"/>
                <a:gd name="connsiteY12" fmla="*/ 47950 h 92449"/>
                <a:gd name="connsiteX13" fmla="*/ 48012 w 92449"/>
                <a:gd name="connsiteY13" fmla="*/ 80000 h 9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449" h="92449">
                  <a:moveTo>
                    <a:pt x="48012" y="0"/>
                  </a:moveTo>
                  <a:cubicBezTo>
                    <a:pt x="48012" y="0"/>
                    <a:pt x="48012" y="0"/>
                    <a:pt x="48012" y="0"/>
                  </a:cubicBezTo>
                  <a:cubicBezTo>
                    <a:pt x="21510" y="0"/>
                    <a:pt x="0" y="21572"/>
                    <a:pt x="0" y="48012"/>
                  </a:cubicBezTo>
                  <a:cubicBezTo>
                    <a:pt x="0" y="74514"/>
                    <a:pt x="21572" y="96024"/>
                    <a:pt x="48012" y="96024"/>
                  </a:cubicBezTo>
                  <a:cubicBezTo>
                    <a:pt x="48012" y="96024"/>
                    <a:pt x="48012" y="96024"/>
                    <a:pt x="48012" y="96024"/>
                  </a:cubicBezTo>
                  <a:cubicBezTo>
                    <a:pt x="74576" y="96024"/>
                    <a:pt x="96024" y="74514"/>
                    <a:pt x="96024" y="48012"/>
                  </a:cubicBezTo>
                  <a:cubicBezTo>
                    <a:pt x="96024" y="21448"/>
                    <a:pt x="74576" y="0"/>
                    <a:pt x="48012" y="0"/>
                  </a:cubicBezTo>
                  <a:close/>
                  <a:moveTo>
                    <a:pt x="48012" y="80000"/>
                  </a:moveTo>
                  <a:cubicBezTo>
                    <a:pt x="48012" y="80000"/>
                    <a:pt x="48012" y="80000"/>
                    <a:pt x="48012" y="80000"/>
                  </a:cubicBezTo>
                  <a:cubicBezTo>
                    <a:pt x="30262" y="80000"/>
                    <a:pt x="15963" y="65639"/>
                    <a:pt x="15963" y="48012"/>
                  </a:cubicBezTo>
                  <a:cubicBezTo>
                    <a:pt x="15963" y="30323"/>
                    <a:pt x="30262" y="15963"/>
                    <a:pt x="47950" y="15963"/>
                  </a:cubicBezTo>
                  <a:cubicBezTo>
                    <a:pt x="47950" y="15963"/>
                    <a:pt x="47950" y="15963"/>
                    <a:pt x="47950" y="15963"/>
                  </a:cubicBezTo>
                  <a:cubicBezTo>
                    <a:pt x="65639" y="15963"/>
                    <a:pt x="79938" y="30262"/>
                    <a:pt x="79938" y="47950"/>
                  </a:cubicBezTo>
                  <a:cubicBezTo>
                    <a:pt x="80061" y="65701"/>
                    <a:pt x="65701" y="80000"/>
                    <a:pt x="48012" y="80000"/>
                  </a:cubicBezTo>
                  <a:close/>
                </a:path>
              </a:pathLst>
            </a:custGeom>
            <a:grpFill/>
            <a:ln w="61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31" name="Forma libre: forma 330">
              <a:extLst>
                <a:ext uri="{FF2B5EF4-FFF2-40B4-BE49-F238E27FC236}">
                  <a16:creationId xmlns:a16="http://schemas.microsoft.com/office/drawing/2014/main" id="{EA14DB0C-3223-474C-B9CA-A998388F01AF}"/>
                </a:ext>
              </a:extLst>
            </p:cNvPr>
            <p:cNvSpPr/>
            <p:nvPr/>
          </p:nvSpPr>
          <p:spPr>
            <a:xfrm>
              <a:off x="8085204" y="2334646"/>
              <a:ext cx="517717" cy="147919"/>
            </a:xfrm>
            <a:custGeom>
              <a:avLst/>
              <a:gdLst>
                <a:gd name="connsiteX0" fmla="*/ 520490 w 517716"/>
                <a:gd name="connsiteY0" fmla="*/ 76117 h 147919"/>
                <a:gd name="connsiteX1" fmla="*/ 447209 w 517716"/>
                <a:gd name="connsiteY1" fmla="*/ 3451 h 147919"/>
                <a:gd name="connsiteX2" fmla="*/ 447147 w 517716"/>
                <a:gd name="connsiteY2" fmla="*/ 3451 h 147919"/>
                <a:gd name="connsiteX3" fmla="*/ 439998 w 517716"/>
                <a:gd name="connsiteY3" fmla="*/ 7827 h 147919"/>
                <a:gd name="connsiteX4" fmla="*/ 424343 w 517716"/>
                <a:gd name="connsiteY4" fmla="*/ 38459 h 147919"/>
                <a:gd name="connsiteX5" fmla="*/ 408750 w 517716"/>
                <a:gd name="connsiteY5" fmla="*/ 7889 h 147919"/>
                <a:gd name="connsiteX6" fmla="*/ 401230 w 517716"/>
                <a:gd name="connsiteY6" fmla="*/ 3513 h 147919"/>
                <a:gd name="connsiteX7" fmla="*/ 352479 w 517716"/>
                <a:gd name="connsiteY7" fmla="*/ 22250 h 147919"/>
                <a:gd name="connsiteX8" fmla="*/ 291524 w 517716"/>
                <a:gd name="connsiteY8" fmla="*/ 0 h 147919"/>
                <a:gd name="connsiteX9" fmla="*/ 291462 w 517716"/>
                <a:gd name="connsiteY9" fmla="*/ 0 h 147919"/>
                <a:gd name="connsiteX10" fmla="*/ 290600 w 517716"/>
                <a:gd name="connsiteY10" fmla="*/ 0 h 147919"/>
                <a:gd name="connsiteX11" fmla="*/ 283450 w 517716"/>
                <a:gd name="connsiteY11" fmla="*/ 4376 h 147919"/>
                <a:gd name="connsiteX12" fmla="*/ 260091 w 517716"/>
                <a:gd name="connsiteY12" fmla="*/ 50231 h 147919"/>
                <a:gd name="connsiteX13" fmla="*/ 236732 w 517716"/>
                <a:gd name="connsiteY13" fmla="*/ 4376 h 147919"/>
                <a:gd name="connsiteX14" fmla="*/ 229028 w 517716"/>
                <a:gd name="connsiteY14" fmla="*/ 0 h 147919"/>
                <a:gd name="connsiteX15" fmla="*/ 167950 w 517716"/>
                <a:gd name="connsiteY15" fmla="*/ 22250 h 147919"/>
                <a:gd name="connsiteX16" fmla="*/ 118705 w 517716"/>
                <a:gd name="connsiteY16" fmla="*/ 3575 h 147919"/>
                <a:gd name="connsiteX17" fmla="*/ 118643 w 517716"/>
                <a:gd name="connsiteY17" fmla="*/ 3575 h 147919"/>
                <a:gd name="connsiteX18" fmla="*/ 111494 w 517716"/>
                <a:gd name="connsiteY18" fmla="*/ 7951 h 147919"/>
                <a:gd name="connsiteX19" fmla="*/ 95963 w 517716"/>
                <a:gd name="connsiteY19" fmla="*/ 38582 h 147919"/>
                <a:gd name="connsiteX20" fmla="*/ 80308 w 517716"/>
                <a:gd name="connsiteY20" fmla="*/ 8012 h 147919"/>
                <a:gd name="connsiteX21" fmla="*/ 72789 w 517716"/>
                <a:gd name="connsiteY21" fmla="*/ 3636 h 147919"/>
                <a:gd name="connsiteX22" fmla="*/ 0 w 517716"/>
                <a:gd name="connsiteY22" fmla="*/ 76363 h 147919"/>
                <a:gd name="connsiteX23" fmla="*/ 0 w 517716"/>
                <a:gd name="connsiteY23" fmla="*/ 112234 h 147919"/>
                <a:gd name="connsiteX24" fmla="*/ 8012 w 517716"/>
                <a:gd name="connsiteY24" fmla="*/ 120246 h 147919"/>
                <a:gd name="connsiteX25" fmla="*/ 134052 w 517716"/>
                <a:gd name="connsiteY25" fmla="*/ 120184 h 147919"/>
                <a:gd name="connsiteX26" fmla="*/ 134052 w 517716"/>
                <a:gd name="connsiteY26" fmla="*/ 143050 h 147919"/>
                <a:gd name="connsiteX27" fmla="*/ 378303 w 517716"/>
                <a:gd name="connsiteY27" fmla="*/ 150939 h 147919"/>
                <a:gd name="connsiteX28" fmla="*/ 386315 w 517716"/>
                <a:gd name="connsiteY28" fmla="*/ 142927 h 147919"/>
                <a:gd name="connsiteX29" fmla="*/ 386315 w 517716"/>
                <a:gd name="connsiteY29" fmla="*/ 120061 h 147919"/>
                <a:gd name="connsiteX30" fmla="*/ 481908 w 517716"/>
                <a:gd name="connsiteY30" fmla="*/ 119999 h 147919"/>
                <a:gd name="connsiteX31" fmla="*/ 481908 w 517716"/>
                <a:gd name="connsiteY31" fmla="*/ 119999 h 147919"/>
                <a:gd name="connsiteX32" fmla="*/ 481970 w 517716"/>
                <a:gd name="connsiteY32" fmla="*/ 119999 h 147919"/>
                <a:gd name="connsiteX33" fmla="*/ 512293 w 517716"/>
                <a:gd name="connsiteY33" fmla="*/ 119999 h 147919"/>
                <a:gd name="connsiteX34" fmla="*/ 520305 w 517716"/>
                <a:gd name="connsiteY34" fmla="*/ 111987 h 147919"/>
                <a:gd name="connsiteX35" fmla="*/ 520490 w 517716"/>
                <a:gd name="connsiteY35" fmla="*/ 76117 h 147919"/>
                <a:gd name="connsiteX36" fmla="*/ 47766 w 517716"/>
                <a:gd name="connsiteY36" fmla="*/ 104160 h 147919"/>
                <a:gd name="connsiteX37" fmla="*/ 51279 w 517716"/>
                <a:gd name="connsiteY37" fmla="*/ 77349 h 147919"/>
                <a:gd name="connsiteX38" fmla="*/ 44376 w 517716"/>
                <a:gd name="connsiteY38" fmla="*/ 68413 h 147919"/>
                <a:gd name="connsiteX39" fmla="*/ 35439 w 517716"/>
                <a:gd name="connsiteY39" fmla="*/ 75315 h 147919"/>
                <a:gd name="connsiteX40" fmla="*/ 31679 w 517716"/>
                <a:gd name="connsiteY40" fmla="*/ 104221 h 147919"/>
                <a:gd name="connsiteX41" fmla="*/ 16333 w 517716"/>
                <a:gd name="connsiteY41" fmla="*/ 104221 h 147919"/>
                <a:gd name="connsiteX42" fmla="*/ 16333 w 517716"/>
                <a:gd name="connsiteY42" fmla="*/ 76302 h 147919"/>
                <a:gd name="connsiteX43" fmla="*/ 68721 w 517716"/>
                <a:gd name="connsiteY43" fmla="*/ 19784 h 147919"/>
                <a:gd name="connsiteX44" fmla="*/ 89183 w 517716"/>
                <a:gd name="connsiteY44" fmla="*/ 59784 h 147919"/>
                <a:gd name="connsiteX45" fmla="*/ 96332 w 517716"/>
                <a:gd name="connsiteY45" fmla="*/ 64160 h 147919"/>
                <a:gd name="connsiteX46" fmla="*/ 96332 w 517716"/>
                <a:gd name="connsiteY46" fmla="*/ 64160 h 147919"/>
                <a:gd name="connsiteX47" fmla="*/ 103482 w 517716"/>
                <a:gd name="connsiteY47" fmla="*/ 59784 h 147919"/>
                <a:gd name="connsiteX48" fmla="*/ 123882 w 517716"/>
                <a:gd name="connsiteY48" fmla="*/ 19723 h 147919"/>
                <a:gd name="connsiteX49" fmla="*/ 156918 w 517716"/>
                <a:gd name="connsiteY49" fmla="*/ 33528 h 147919"/>
                <a:gd name="connsiteX50" fmla="*/ 134421 w 517716"/>
                <a:gd name="connsiteY50" fmla="*/ 104160 h 147919"/>
                <a:gd name="connsiteX51" fmla="*/ 47766 w 517716"/>
                <a:gd name="connsiteY51" fmla="*/ 104160 h 147919"/>
                <a:gd name="connsiteX52" fmla="*/ 344775 w 517716"/>
                <a:gd name="connsiteY52" fmla="*/ 134914 h 147919"/>
                <a:gd name="connsiteX53" fmla="*/ 339413 w 517716"/>
                <a:gd name="connsiteY53" fmla="*/ 93744 h 147919"/>
                <a:gd name="connsiteX54" fmla="*/ 330414 w 517716"/>
                <a:gd name="connsiteY54" fmla="*/ 86841 h 147919"/>
                <a:gd name="connsiteX55" fmla="*/ 323511 w 517716"/>
                <a:gd name="connsiteY55" fmla="*/ 95839 h 147919"/>
                <a:gd name="connsiteX56" fmla="*/ 328627 w 517716"/>
                <a:gd name="connsiteY56" fmla="*/ 134914 h 147919"/>
                <a:gd name="connsiteX57" fmla="*/ 192172 w 517716"/>
                <a:gd name="connsiteY57" fmla="*/ 134976 h 147919"/>
                <a:gd name="connsiteX58" fmla="*/ 197225 w 517716"/>
                <a:gd name="connsiteY58" fmla="*/ 95901 h 147919"/>
                <a:gd name="connsiteX59" fmla="*/ 190323 w 517716"/>
                <a:gd name="connsiteY59" fmla="*/ 86964 h 147919"/>
                <a:gd name="connsiteX60" fmla="*/ 181386 w 517716"/>
                <a:gd name="connsiteY60" fmla="*/ 93867 h 147919"/>
                <a:gd name="connsiteX61" fmla="*/ 176024 w 517716"/>
                <a:gd name="connsiteY61" fmla="*/ 135038 h 147919"/>
                <a:gd name="connsiteX62" fmla="*/ 150323 w 517716"/>
                <a:gd name="connsiteY62" fmla="*/ 135038 h 147919"/>
                <a:gd name="connsiteX63" fmla="*/ 150323 w 517716"/>
                <a:gd name="connsiteY63" fmla="*/ 94853 h 147919"/>
                <a:gd name="connsiteX64" fmla="*/ 225022 w 517716"/>
                <a:gd name="connsiteY64" fmla="*/ 16086 h 147919"/>
                <a:gd name="connsiteX65" fmla="*/ 253250 w 517716"/>
                <a:gd name="connsiteY65" fmla="*/ 71433 h 147919"/>
                <a:gd name="connsiteX66" fmla="*/ 260399 w 517716"/>
                <a:gd name="connsiteY66" fmla="*/ 75809 h 147919"/>
                <a:gd name="connsiteX67" fmla="*/ 267549 w 517716"/>
                <a:gd name="connsiteY67" fmla="*/ 71433 h 147919"/>
                <a:gd name="connsiteX68" fmla="*/ 295715 w 517716"/>
                <a:gd name="connsiteY68" fmla="*/ 16025 h 147919"/>
                <a:gd name="connsiteX69" fmla="*/ 370599 w 517716"/>
                <a:gd name="connsiteY69" fmla="*/ 94730 h 147919"/>
                <a:gd name="connsiteX70" fmla="*/ 370661 w 517716"/>
                <a:gd name="connsiteY70" fmla="*/ 134914 h 147919"/>
                <a:gd name="connsiteX71" fmla="*/ 344775 w 517716"/>
                <a:gd name="connsiteY71" fmla="*/ 134914 h 147919"/>
                <a:gd name="connsiteX72" fmla="*/ 489181 w 517716"/>
                <a:gd name="connsiteY72" fmla="*/ 103975 h 147919"/>
                <a:gd name="connsiteX73" fmla="*/ 485421 w 517716"/>
                <a:gd name="connsiteY73" fmla="*/ 75131 h 147919"/>
                <a:gd name="connsiteX74" fmla="*/ 476423 w 517716"/>
                <a:gd name="connsiteY74" fmla="*/ 68228 h 147919"/>
                <a:gd name="connsiteX75" fmla="*/ 469520 w 517716"/>
                <a:gd name="connsiteY75" fmla="*/ 77226 h 147919"/>
                <a:gd name="connsiteX76" fmla="*/ 473033 w 517716"/>
                <a:gd name="connsiteY76" fmla="*/ 104036 h 147919"/>
                <a:gd name="connsiteX77" fmla="*/ 386500 w 517716"/>
                <a:gd name="connsiteY77" fmla="*/ 104098 h 147919"/>
                <a:gd name="connsiteX78" fmla="*/ 364004 w 517716"/>
                <a:gd name="connsiteY78" fmla="*/ 33467 h 147919"/>
                <a:gd name="connsiteX79" fmla="*/ 396916 w 517716"/>
                <a:gd name="connsiteY79" fmla="*/ 19661 h 147919"/>
                <a:gd name="connsiteX80" fmla="*/ 417317 w 517716"/>
                <a:gd name="connsiteY80" fmla="*/ 59661 h 147919"/>
                <a:gd name="connsiteX81" fmla="*/ 424466 w 517716"/>
                <a:gd name="connsiteY81" fmla="*/ 64037 h 147919"/>
                <a:gd name="connsiteX82" fmla="*/ 431616 w 517716"/>
                <a:gd name="connsiteY82" fmla="*/ 59661 h 147919"/>
                <a:gd name="connsiteX83" fmla="*/ 452078 w 517716"/>
                <a:gd name="connsiteY83" fmla="*/ 19599 h 147919"/>
                <a:gd name="connsiteX84" fmla="*/ 504527 w 517716"/>
                <a:gd name="connsiteY84" fmla="*/ 76117 h 147919"/>
                <a:gd name="connsiteX85" fmla="*/ 504527 w 517716"/>
                <a:gd name="connsiteY85" fmla="*/ 103975 h 147919"/>
                <a:gd name="connsiteX86" fmla="*/ 489181 w 517716"/>
                <a:gd name="connsiteY86" fmla="*/ 103975 h 14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17716" h="147919">
                  <a:moveTo>
                    <a:pt x="520490" y="76117"/>
                  </a:moveTo>
                  <a:cubicBezTo>
                    <a:pt x="520490" y="36980"/>
                    <a:pt x="489057" y="3451"/>
                    <a:pt x="447209" y="3451"/>
                  </a:cubicBezTo>
                  <a:cubicBezTo>
                    <a:pt x="447209" y="3451"/>
                    <a:pt x="447209" y="3451"/>
                    <a:pt x="447147" y="3451"/>
                  </a:cubicBezTo>
                  <a:cubicBezTo>
                    <a:pt x="444127" y="3451"/>
                    <a:pt x="441415" y="5116"/>
                    <a:pt x="439998" y="7827"/>
                  </a:cubicBezTo>
                  <a:lnTo>
                    <a:pt x="424343" y="38459"/>
                  </a:lnTo>
                  <a:lnTo>
                    <a:pt x="408750" y="7889"/>
                  </a:lnTo>
                  <a:cubicBezTo>
                    <a:pt x="407394" y="5177"/>
                    <a:pt x="404251" y="3513"/>
                    <a:pt x="401230" y="3513"/>
                  </a:cubicBezTo>
                  <a:cubicBezTo>
                    <a:pt x="383172" y="3513"/>
                    <a:pt x="365792" y="10293"/>
                    <a:pt x="352479" y="22250"/>
                  </a:cubicBezTo>
                  <a:cubicBezTo>
                    <a:pt x="335407" y="7889"/>
                    <a:pt x="314082" y="0"/>
                    <a:pt x="291524" y="0"/>
                  </a:cubicBezTo>
                  <a:cubicBezTo>
                    <a:pt x="291524" y="0"/>
                    <a:pt x="291524" y="0"/>
                    <a:pt x="291462" y="0"/>
                  </a:cubicBezTo>
                  <a:lnTo>
                    <a:pt x="290600" y="0"/>
                  </a:lnTo>
                  <a:cubicBezTo>
                    <a:pt x="287579" y="0"/>
                    <a:pt x="284806" y="1664"/>
                    <a:pt x="283450" y="4376"/>
                  </a:cubicBezTo>
                  <a:lnTo>
                    <a:pt x="260091" y="50231"/>
                  </a:lnTo>
                  <a:lnTo>
                    <a:pt x="236732" y="4376"/>
                  </a:lnTo>
                  <a:cubicBezTo>
                    <a:pt x="235376" y="1726"/>
                    <a:pt x="232048" y="0"/>
                    <a:pt x="229028" y="0"/>
                  </a:cubicBezTo>
                  <a:cubicBezTo>
                    <a:pt x="206409" y="0"/>
                    <a:pt x="185022" y="7889"/>
                    <a:pt x="167950" y="22250"/>
                  </a:cubicBezTo>
                  <a:cubicBezTo>
                    <a:pt x="154637" y="10293"/>
                    <a:pt x="137257" y="3575"/>
                    <a:pt x="118705" y="3575"/>
                  </a:cubicBezTo>
                  <a:cubicBezTo>
                    <a:pt x="118705" y="3575"/>
                    <a:pt x="118705" y="3575"/>
                    <a:pt x="118643" y="3575"/>
                  </a:cubicBezTo>
                  <a:cubicBezTo>
                    <a:pt x="115624" y="3575"/>
                    <a:pt x="112850" y="5239"/>
                    <a:pt x="111494" y="7951"/>
                  </a:cubicBezTo>
                  <a:lnTo>
                    <a:pt x="95963" y="38582"/>
                  </a:lnTo>
                  <a:lnTo>
                    <a:pt x="80308" y="8012"/>
                  </a:lnTo>
                  <a:cubicBezTo>
                    <a:pt x="78952" y="5300"/>
                    <a:pt x="75808" y="3636"/>
                    <a:pt x="72789" y="3636"/>
                  </a:cubicBezTo>
                  <a:cubicBezTo>
                    <a:pt x="32665" y="3636"/>
                    <a:pt x="0" y="36302"/>
                    <a:pt x="0" y="76363"/>
                  </a:cubicBezTo>
                  <a:lnTo>
                    <a:pt x="0" y="112234"/>
                  </a:lnTo>
                  <a:cubicBezTo>
                    <a:pt x="0" y="116671"/>
                    <a:pt x="3575" y="120246"/>
                    <a:pt x="8012" y="120246"/>
                  </a:cubicBezTo>
                  <a:cubicBezTo>
                    <a:pt x="179167" y="120184"/>
                    <a:pt x="111556" y="120184"/>
                    <a:pt x="134052" y="120184"/>
                  </a:cubicBezTo>
                  <a:lnTo>
                    <a:pt x="134052" y="143050"/>
                  </a:lnTo>
                  <a:cubicBezTo>
                    <a:pt x="134052" y="158458"/>
                    <a:pt x="148412" y="147673"/>
                    <a:pt x="378303" y="150939"/>
                  </a:cubicBezTo>
                  <a:cubicBezTo>
                    <a:pt x="382741" y="150939"/>
                    <a:pt x="386315" y="147364"/>
                    <a:pt x="386315" y="142927"/>
                  </a:cubicBezTo>
                  <a:lnTo>
                    <a:pt x="386315" y="120061"/>
                  </a:lnTo>
                  <a:lnTo>
                    <a:pt x="481908" y="119999"/>
                  </a:lnTo>
                  <a:cubicBezTo>
                    <a:pt x="481908" y="119999"/>
                    <a:pt x="481908" y="119999"/>
                    <a:pt x="481908" y="119999"/>
                  </a:cubicBezTo>
                  <a:cubicBezTo>
                    <a:pt x="481908" y="119999"/>
                    <a:pt x="481970" y="119999"/>
                    <a:pt x="481970" y="119999"/>
                  </a:cubicBezTo>
                  <a:lnTo>
                    <a:pt x="512293" y="119999"/>
                  </a:lnTo>
                  <a:cubicBezTo>
                    <a:pt x="516731" y="119999"/>
                    <a:pt x="520305" y="116425"/>
                    <a:pt x="520305" y="111987"/>
                  </a:cubicBezTo>
                  <a:lnTo>
                    <a:pt x="520490" y="76117"/>
                  </a:lnTo>
                  <a:close/>
                  <a:moveTo>
                    <a:pt x="47766" y="104160"/>
                  </a:moveTo>
                  <a:lnTo>
                    <a:pt x="51279" y="77349"/>
                  </a:lnTo>
                  <a:cubicBezTo>
                    <a:pt x="51833" y="72973"/>
                    <a:pt x="48752" y="68967"/>
                    <a:pt x="44376" y="68413"/>
                  </a:cubicBezTo>
                  <a:cubicBezTo>
                    <a:pt x="40000" y="67858"/>
                    <a:pt x="35994" y="70940"/>
                    <a:pt x="35439" y="75315"/>
                  </a:cubicBezTo>
                  <a:lnTo>
                    <a:pt x="31679" y="104221"/>
                  </a:lnTo>
                  <a:lnTo>
                    <a:pt x="16333" y="104221"/>
                  </a:lnTo>
                  <a:lnTo>
                    <a:pt x="16333" y="76302"/>
                  </a:lnTo>
                  <a:cubicBezTo>
                    <a:pt x="16333" y="46595"/>
                    <a:pt x="39260" y="22188"/>
                    <a:pt x="68721" y="19784"/>
                  </a:cubicBezTo>
                  <a:lnTo>
                    <a:pt x="89183" y="59784"/>
                  </a:lnTo>
                  <a:cubicBezTo>
                    <a:pt x="90539" y="62434"/>
                    <a:pt x="93312" y="64160"/>
                    <a:pt x="96332" y="64160"/>
                  </a:cubicBezTo>
                  <a:lnTo>
                    <a:pt x="96332" y="64160"/>
                  </a:lnTo>
                  <a:cubicBezTo>
                    <a:pt x="99352" y="64160"/>
                    <a:pt x="102064" y="62434"/>
                    <a:pt x="103482" y="59784"/>
                  </a:cubicBezTo>
                  <a:lnTo>
                    <a:pt x="123882" y="19723"/>
                  </a:lnTo>
                  <a:cubicBezTo>
                    <a:pt x="136086" y="20647"/>
                    <a:pt x="147734" y="25454"/>
                    <a:pt x="156918" y="33528"/>
                  </a:cubicBezTo>
                  <a:cubicBezTo>
                    <a:pt x="130045" y="65023"/>
                    <a:pt x="134976" y="100462"/>
                    <a:pt x="134421" y="104160"/>
                  </a:cubicBezTo>
                  <a:lnTo>
                    <a:pt x="47766" y="104160"/>
                  </a:lnTo>
                  <a:close/>
                  <a:moveTo>
                    <a:pt x="344775" y="134914"/>
                  </a:moveTo>
                  <a:lnTo>
                    <a:pt x="339413" y="93744"/>
                  </a:lnTo>
                  <a:cubicBezTo>
                    <a:pt x="338858" y="89368"/>
                    <a:pt x="334852" y="86224"/>
                    <a:pt x="330414" y="86841"/>
                  </a:cubicBezTo>
                  <a:cubicBezTo>
                    <a:pt x="326039" y="87396"/>
                    <a:pt x="322957" y="91402"/>
                    <a:pt x="323511" y="95839"/>
                  </a:cubicBezTo>
                  <a:lnTo>
                    <a:pt x="328627" y="134914"/>
                  </a:lnTo>
                  <a:lnTo>
                    <a:pt x="192172" y="134976"/>
                  </a:lnTo>
                  <a:lnTo>
                    <a:pt x="197225" y="95901"/>
                  </a:lnTo>
                  <a:cubicBezTo>
                    <a:pt x="197780" y="91525"/>
                    <a:pt x="194699" y="87519"/>
                    <a:pt x="190323" y="86964"/>
                  </a:cubicBezTo>
                  <a:cubicBezTo>
                    <a:pt x="185885" y="86348"/>
                    <a:pt x="181941" y="89491"/>
                    <a:pt x="181386" y="93867"/>
                  </a:cubicBezTo>
                  <a:lnTo>
                    <a:pt x="176024" y="135038"/>
                  </a:lnTo>
                  <a:lnTo>
                    <a:pt x="150323" y="135038"/>
                  </a:lnTo>
                  <a:lnTo>
                    <a:pt x="150323" y="94853"/>
                  </a:lnTo>
                  <a:cubicBezTo>
                    <a:pt x="150323" y="54484"/>
                    <a:pt x="181447" y="18613"/>
                    <a:pt x="225022" y="16086"/>
                  </a:cubicBezTo>
                  <a:lnTo>
                    <a:pt x="253250" y="71433"/>
                  </a:lnTo>
                  <a:cubicBezTo>
                    <a:pt x="254606" y="74144"/>
                    <a:pt x="257379" y="75809"/>
                    <a:pt x="260399" y="75809"/>
                  </a:cubicBezTo>
                  <a:cubicBezTo>
                    <a:pt x="263419" y="75809"/>
                    <a:pt x="266193" y="74144"/>
                    <a:pt x="267549" y="71433"/>
                  </a:cubicBezTo>
                  <a:lnTo>
                    <a:pt x="295715" y="16025"/>
                  </a:lnTo>
                  <a:cubicBezTo>
                    <a:pt x="337132" y="18058"/>
                    <a:pt x="370537" y="52203"/>
                    <a:pt x="370599" y="94730"/>
                  </a:cubicBezTo>
                  <a:cubicBezTo>
                    <a:pt x="370599" y="95531"/>
                    <a:pt x="370661" y="137565"/>
                    <a:pt x="370661" y="134914"/>
                  </a:cubicBezTo>
                  <a:lnTo>
                    <a:pt x="344775" y="134914"/>
                  </a:lnTo>
                  <a:close/>
                  <a:moveTo>
                    <a:pt x="489181" y="103975"/>
                  </a:moveTo>
                  <a:lnTo>
                    <a:pt x="485421" y="75131"/>
                  </a:lnTo>
                  <a:cubicBezTo>
                    <a:pt x="484866" y="70755"/>
                    <a:pt x="480861" y="67673"/>
                    <a:pt x="476423" y="68228"/>
                  </a:cubicBezTo>
                  <a:cubicBezTo>
                    <a:pt x="472047" y="68782"/>
                    <a:pt x="468965" y="72789"/>
                    <a:pt x="469520" y="77226"/>
                  </a:cubicBezTo>
                  <a:lnTo>
                    <a:pt x="473033" y="104036"/>
                  </a:lnTo>
                  <a:lnTo>
                    <a:pt x="386500" y="104098"/>
                  </a:lnTo>
                  <a:cubicBezTo>
                    <a:pt x="385822" y="99784"/>
                    <a:pt x="391000" y="65208"/>
                    <a:pt x="364004" y="33467"/>
                  </a:cubicBezTo>
                  <a:cubicBezTo>
                    <a:pt x="373126" y="25516"/>
                    <a:pt x="384590" y="20709"/>
                    <a:pt x="396916" y="19661"/>
                  </a:cubicBezTo>
                  <a:lnTo>
                    <a:pt x="417317" y="59661"/>
                  </a:lnTo>
                  <a:cubicBezTo>
                    <a:pt x="418673" y="62373"/>
                    <a:pt x="421446" y="64037"/>
                    <a:pt x="424466" y="64037"/>
                  </a:cubicBezTo>
                  <a:cubicBezTo>
                    <a:pt x="427486" y="64037"/>
                    <a:pt x="430198" y="62373"/>
                    <a:pt x="431616" y="59661"/>
                  </a:cubicBezTo>
                  <a:lnTo>
                    <a:pt x="452078" y="19599"/>
                  </a:lnTo>
                  <a:cubicBezTo>
                    <a:pt x="481230" y="21756"/>
                    <a:pt x="504527" y="46163"/>
                    <a:pt x="504527" y="76117"/>
                  </a:cubicBezTo>
                  <a:lnTo>
                    <a:pt x="504527" y="103975"/>
                  </a:lnTo>
                  <a:lnTo>
                    <a:pt x="489181" y="103975"/>
                  </a:lnTo>
                  <a:close/>
                </a:path>
              </a:pathLst>
            </a:custGeom>
            <a:grpFill/>
            <a:ln w="61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32" name="Forma libre: forma 331">
              <a:extLst>
                <a:ext uri="{FF2B5EF4-FFF2-40B4-BE49-F238E27FC236}">
                  <a16:creationId xmlns:a16="http://schemas.microsoft.com/office/drawing/2014/main" id="{7F0DDB87-C5E4-4FE5-91DD-D9DE905FCCBB}"/>
                </a:ext>
              </a:extLst>
            </p:cNvPr>
            <p:cNvSpPr/>
            <p:nvPr/>
          </p:nvSpPr>
          <p:spPr>
            <a:xfrm>
              <a:off x="8102462" y="1993569"/>
              <a:ext cx="184899" cy="184899"/>
            </a:xfrm>
            <a:custGeom>
              <a:avLst/>
              <a:gdLst>
                <a:gd name="connsiteX0" fmla="*/ 6656 w 184898"/>
                <a:gd name="connsiteY0" fmla="*/ 115500 h 184898"/>
                <a:gd name="connsiteX1" fmla="*/ 19106 w 184898"/>
                <a:gd name="connsiteY1" fmla="*/ 117781 h 184898"/>
                <a:gd name="connsiteX2" fmla="*/ 24468 w 184898"/>
                <a:gd name="connsiteY2" fmla="*/ 130970 h 184898"/>
                <a:gd name="connsiteX3" fmla="*/ 17134 w 184898"/>
                <a:gd name="connsiteY3" fmla="*/ 141324 h 184898"/>
                <a:gd name="connsiteX4" fmla="*/ 17935 w 184898"/>
                <a:gd name="connsiteY4" fmla="*/ 151555 h 184898"/>
                <a:gd name="connsiteX5" fmla="*/ 36857 w 184898"/>
                <a:gd name="connsiteY5" fmla="*/ 170785 h 184898"/>
                <a:gd name="connsiteX6" fmla="*/ 47088 w 184898"/>
                <a:gd name="connsiteY6" fmla="*/ 171771 h 184898"/>
                <a:gd name="connsiteX7" fmla="*/ 57565 w 184898"/>
                <a:gd name="connsiteY7" fmla="*/ 164560 h 184898"/>
                <a:gd name="connsiteX8" fmla="*/ 70632 w 184898"/>
                <a:gd name="connsiteY8" fmla="*/ 170045 h 184898"/>
                <a:gd name="connsiteX9" fmla="*/ 72789 w 184898"/>
                <a:gd name="connsiteY9" fmla="*/ 182557 h 184898"/>
                <a:gd name="connsiteX10" fmla="*/ 80616 w 184898"/>
                <a:gd name="connsiteY10" fmla="*/ 189213 h 184898"/>
                <a:gd name="connsiteX11" fmla="*/ 107550 w 184898"/>
                <a:gd name="connsiteY11" fmla="*/ 189398 h 184898"/>
                <a:gd name="connsiteX12" fmla="*/ 107611 w 184898"/>
                <a:gd name="connsiteY12" fmla="*/ 189398 h 184898"/>
                <a:gd name="connsiteX13" fmla="*/ 115500 w 184898"/>
                <a:gd name="connsiteY13" fmla="*/ 182865 h 184898"/>
                <a:gd name="connsiteX14" fmla="*/ 117842 w 184898"/>
                <a:gd name="connsiteY14" fmla="*/ 170354 h 184898"/>
                <a:gd name="connsiteX15" fmla="*/ 130970 w 184898"/>
                <a:gd name="connsiteY15" fmla="*/ 165053 h 184898"/>
                <a:gd name="connsiteX16" fmla="*/ 141324 w 184898"/>
                <a:gd name="connsiteY16" fmla="*/ 172387 h 184898"/>
                <a:gd name="connsiteX17" fmla="*/ 151556 w 184898"/>
                <a:gd name="connsiteY17" fmla="*/ 171524 h 184898"/>
                <a:gd name="connsiteX18" fmla="*/ 170785 w 184898"/>
                <a:gd name="connsiteY18" fmla="*/ 152542 h 184898"/>
                <a:gd name="connsiteX19" fmla="*/ 171771 w 184898"/>
                <a:gd name="connsiteY19" fmla="*/ 142311 h 184898"/>
                <a:gd name="connsiteX20" fmla="*/ 164622 w 184898"/>
                <a:gd name="connsiteY20" fmla="*/ 131895 h 184898"/>
                <a:gd name="connsiteX21" fmla="*/ 170169 w 184898"/>
                <a:gd name="connsiteY21" fmla="*/ 118767 h 184898"/>
                <a:gd name="connsiteX22" fmla="*/ 182619 w 184898"/>
                <a:gd name="connsiteY22" fmla="*/ 116671 h 184898"/>
                <a:gd name="connsiteX23" fmla="*/ 189275 w 184898"/>
                <a:gd name="connsiteY23" fmla="*/ 108844 h 184898"/>
                <a:gd name="connsiteX24" fmla="*/ 189460 w 184898"/>
                <a:gd name="connsiteY24" fmla="*/ 81910 h 184898"/>
                <a:gd name="connsiteX25" fmla="*/ 182927 w 184898"/>
                <a:gd name="connsiteY25" fmla="*/ 74021 h 184898"/>
                <a:gd name="connsiteX26" fmla="*/ 170477 w 184898"/>
                <a:gd name="connsiteY26" fmla="*/ 71679 h 184898"/>
                <a:gd name="connsiteX27" fmla="*/ 165115 w 184898"/>
                <a:gd name="connsiteY27" fmla="*/ 58490 h 184898"/>
                <a:gd name="connsiteX28" fmla="*/ 172388 w 184898"/>
                <a:gd name="connsiteY28" fmla="*/ 48135 h 184898"/>
                <a:gd name="connsiteX29" fmla="*/ 171525 w 184898"/>
                <a:gd name="connsiteY29" fmla="*/ 37904 h 184898"/>
                <a:gd name="connsiteX30" fmla="*/ 152542 w 184898"/>
                <a:gd name="connsiteY30" fmla="*/ 18736 h 184898"/>
                <a:gd name="connsiteX31" fmla="*/ 142311 w 184898"/>
                <a:gd name="connsiteY31" fmla="*/ 17750 h 184898"/>
                <a:gd name="connsiteX32" fmla="*/ 131833 w 184898"/>
                <a:gd name="connsiteY32" fmla="*/ 24900 h 184898"/>
                <a:gd name="connsiteX33" fmla="*/ 118767 w 184898"/>
                <a:gd name="connsiteY33" fmla="*/ 19414 h 184898"/>
                <a:gd name="connsiteX34" fmla="*/ 116609 w 184898"/>
                <a:gd name="connsiteY34" fmla="*/ 6841 h 184898"/>
                <a:gd name="connsiteX35" fmla="*/ 108782 w 184898"/>
                <a:gd name="connsiteY35" fmla="*/ 185 h 184898"/>
                <a:gd name="connsiteX36" fmla="*/ 81849 w 184898"/>
                <a:gd name="connsiteY36" fmla="*/ 0 h 184898"/>
                <a:gd name="connsiteX37" fmla="*/ 81787 w 184898"/>
                <a:gd name="connsiteY37" fmla="*/ 0 h 184898"/>
                <a:gd name="connsiteX38" fmla="*/ 73898 w 184898"/>
                <a:gd name="connsiteY38" fmla="*/ 6533 h 184898"/>
                <a:gd name="connsiteX39" fmla="*/ 71617 w 184898"/>
                <a:gd name="connsiteY39" fmla="*/ 19045 h 184898"/>
                <a:gd name="connsiteX40" fmla="*/ 58428 w 184898"/>
                <a:gd name="connsiteY40" fmla="*/ 24345 h 184898"/>
                <a:gd name="connsiteX41" fmla="*/ 48074 w 184898"/>
                <a:gd name="connsiteY41" fmla="*/ 17072 h 184898"/>
                <a:gd name="connsiteX42" fmla="*/ 37843 w 184898"/>
                <a:gd name="connsiteY42" fmla="*/ 17935 h 184898"/>
                <a:gd name="connsiteX43" fmla="*/ 18675 w 184898"/>
                <a:gd name="connsiteY43" fmla="*/ 36856 h 184898"/>
                <a:gd name="connsiteX44" fmla="*/ 17689 w 184898"/>
                <a:gd name="connsiteY44" fmla="*/ 47088 h 184898"/>
                <a:gd name="connsiteX45" fmla="*/ 24900 w 184898"/>
                <a:gd name="connsiteY45" fmla="*/ 57565 h 184898"/>
                <a:gd name="connsiteX46" fmla="*/ 19353 w 184898"/>
                <a:gd name="connsiteY46" fmla="*/ 70693 h 184898"/>
                <a:gd name="connsiteX47" fmla="*/ 6841 w 184898"/>
                <a:gd name="connsiteY47" fmla="*/ 72850 h 184898"/>
                <a:gd name="connsiteX48" fmla="*/ 185 w 184898"/>
                <a:gd name="connsiteY48" fmla="*/ 80678 h 184898"/>
                <a:gd name="connsiteX49" fmla="*/ 0 w 184898"/>
                <a:gd name="connsiteY49" fmla="*/ 107611 h 184898"/>
                <a:gd name="connsiteX50" fmla="*/ 6656 w 184898"/>
                <a:gd name="connsiteY50" fmla="*/ 115500 h 184898"/>
                <a:gd name="connsiteX51" fmla="*/ 16210 w 184898"/>
                <a:gd name="connsiteY51" fmla="*/ 87457 h 184898"/>
                <a:gd name="connsiteX52" fmla="*/ 27057 w 184898"/>
                <a:gd name="connsiteY52" fmla="*/ 85546 h 184898"/>
                <a:gd name="connsiteX53" fmla="*/ 33467 w 184898"/>
                <a:gd name="connsiteY53" fmla="*/ 79568 h 184898"/>
                <a:gd name="connsiteX54" fmla="*/ 41171 w 184898"/>
                <a:gd name="connsiteY54" fmla="*/ 61386 h 184898"/>
                <a:gd name="connsiteX55" fmla="*/ 40986 w 184898"/>
                <a:gd name="connsiteY55" fmla="*/ 52635 h 184898"/>
                <a:gd name="connsiteX56" fmla="*/ 34699 w 184898"/>
                <a:gd name="connsiteY56" fmla="*/ 43574 h 184898"/>
                <a:gd name="connsiteX57" fmla="*/ 44376 w 184898"/>
                <a:gd name="connsiteY57" fmla="*/ 34021 h 184898"/>
                <a:gd name="connsiteX58" fmla="*/ 53374 w 184898"/>
                <a:gd name="connsiteY58" fmla="*/ 40370 h 184898"/>
                <a:gd name="connsiteX59" fmla="*/ 62064 w 184898"/>
                <a:gd name="connsiteY59" fmla="*/ 40678 h 184898"/>
                <a:gd name="connsiteX60" fmla="*/ 80308 w 184898"/>
                <a:gd name="connsiteY60" fmla="*/ 33343 h 184898"/>
                <a:gd name="connsiteX61" fmla="*/ 86410 w 184898"/>
                <a:gd name="connsiteY61" fmla="*/ 26995 h 184898"/>
                <a:gd name="connsiteX62" fmla="*/ 88444 w 184898"/>
                <a:gd name="connsiteY62" fmla="*/ 16086 h 184898"/>
                <a:gd name="connsiteX63" fmla="*/ 102002 w 184898"/>
                <a:gd name="connsiteY63" fmla="*/ 16209 h 184898"/>
                <a:gd name="connsiteX64" fmla="*/ 103852 w 184898"/>
                <a:gd name="connsiteY64" fmla="*/ 27180 h 184898"/>
                <a:gd name="connsiteX65" fmla="*/ 109892 w 184898"/>
                <a:gd name="connsiteY65" fmla="*/ 33590 h 184898"/>
                <a:gd name="connsiteX66" fmla="*/ 128012 w 184898"/>
                <a:gd name="connsiteY66" fmla="*/ 41171 h 184898"/>
                <a:gd name="connsiteX67" fmla="*/ 136764 w 184898"/>
                <a:gd name="connsiteY67" fmla="*/ 40986 h 184898"/>
                <a:gd name="connsiteX68" fmla="*/ 145885 w 184898"/>
                <a:gd name="connsiteY68" fmla="*/ 34761 h 184898"/>
                <a:gd name="connsiteX69" fmla="*/ 155439 w 184898"/>
                <a:gd name="connsiteY69" fmla="*/ 44437 h 184898"/>
                <a:gd name="connsiteX70" fmla="*/ 149090 w 184898"/>
                <a:gd name="connsiteY70" fmla="*/ 53436 h 184898"/>
                <a:gd name="connsiteX71" fmla="*/ 148782 w 184898"/>
                <a:gd name="connsiteY71" fmla="*/ 62188 h 184898"/>
                <a:gd name="connsiteX72" fmla="*/ 156178 w 184898"/>
                <a:gd name="connsiteY72" fmla="*/ 80431 h 184898"/>
                <a:gd name="connsiteX73" fmla="*/ 162526 w 184898"/>
                <a:gd name="connsiteY73" fmla="*/ 86533 h 184898"/>
                <a:gd name="connsiteX74" fmla="*/ 173374 w 184898"/>
                <a:gd name="connsiteY74" fmla="*/ 88567 h 184898"/>
                <a:gd name="connsiteX75" fmla="*/ 173312 w 184898"/>
                <a:gd name="connsiteY75" fmla="*/ 102064 h 184898"/>
                <a:gd name="connsiteX76" fmla="*/ 162403 w 184898"/>
                <a:gd name="connsiteY76" fmla="*/ 103913 h 184898"/>
                <a:gd name="connsiteX77" fmla="*/ 155931 w 184898"/>
                <a:gd name="connsiteY77" fmla="*/ 110015 h 184898"/>
                <a:gd name="connsiteX78" fmla="*/ 148351 w 184898"/>
                <a:gd name="connsiteY78" fmla="*/ 128196 h 184898"/>
                <a:gd name="connsiteX79" fmla="*/ 148536 w 184898"/>
                <a:gd name="connsiteY79" fmla="*/ 136948 h 184898"/>
                <a:gd name="connsiteX80" fmla="*/ 154760 w 184898"/>
                <a:gd name="connsiteY80" fmla="*/ 146008 h 184898"/>
                <a:gd name="connsiteX81" fmla="*/ 145084 w 184898"/>
                <a:gd name="connsiteY81" fmla="*/ 155562 h 184898"/>
                <a:gd name="connsiteX82" fmla="*/ 136086 w 184898"/>
                <a:gd name="connsiteY82" fmla="*/ 149213 h 184898"/>
                <a:gd name="connsiteX83" fmla="*/ 127334 w 184898"/>
                <a:gd name="connsiteY83" fmla="*/ 148905 h 184898"/>
                <a:gd name="connsiteX84" fmla="*/ 109090 w 184898"/>
                <a:gd name="connsiteY84" fmla="*/ 156240 h 184898"/>
                <a:gd name="connsiteX85" fmla="*/ 102989 w 184898"/>
                <a:gd name="connsiteY85" fmla="*/ 162588 h 184898"/>
                <a:gd name="connsiteX86" fmla="*/ 100955 w 184898"/>
                <a:gd name="connsiteY86" fmla="*/ 173497 h 184898"/>
                <a:gd name="connsiteX87" fmla="*/ 87396 w 184898"/>
                <a:gd name="connsiteY87" fmla="*/ 173373 h 184898"/>
                <a:gd name="connsiteX88" fmla="*/ 85547 w 184898"/>
                <a:gd name="connsiteY88" fmla="*/ 162465 h 184898"/>
                <a:gd name="connsiteX89" fmla="*/ 79568 w 184898"/>
                <a:gd name="connsiteY89" fmla="*/ 156055 h 184898"/>
                <a:gd name="connsiteX90" fmla="*/ 61325 w 184898"/>
                <a:gd name="connsiteY90" fmla="*/ 148412 h 184898"/>
                <a:gd name="connsiteX91" fmla="*/ 52573 w 184898"/>
                <a:gd name="connsiteY91" fmla="*/ 148659 h 184898"/>
                <a:gd name="connsiteX92" fmla="*/ 43513 w 184898"/>
                <a:gd name="connsiteY92" fmla="*/ 154884 h 184898"/>
                <a:gd name="connsiteX93" fmla="*/ 34022 w 184898"/>
                <a:gd name="connsiteY93" fmla="*/ 145207 h 184898"/>
                <a:gd name="connsiteX94" fmla="*/ 40370 w 184898"/>
                <a:gd name="connsiteY94" fmla="*/ 136209 h 184898"/>
                <a:gd name="connsiteX95" fmla="*/ 40678 w 184898"/>
                <a:gd name="connsiteY95" fmla="*/ 127457 h 184898"/>
                <a:gd name="connsiteX96" fmla="*/ 33220 w 184898"/>
                <a:gd name="connsiteY96" fmla="*/ 109152 h 184898"/>
                <a:gd name="connsiteX97" fmla="*/ 26872 w 184898"/>
                <a:gd name="connsiteY97" fmla="*/ 103050 h 184898"/>
                <a:gd name="connsiteX98" fmla="*/ 16025 w 184898"/>
                <a:gd name="connsiteY98" fmla="*/ 101078 h 184898"/>
                <a:gd name="connsiteX99" fmla="*/ 16210 w 184898"/>
                <a:gd name="connsiteY99" fmla="*/ 87457 h 184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84898" h="184898">
                  <a:moveTo>
                    <a:pt x="6656" y="115500"/>
                  </a:moveTo>
                  <a:lnTo>
                    <a:pt x="19106" y="117781"/>
                  </a:lnTo>
                  <a:cubicBezTo>
                    <a:pt x="20462" y="122280"/>
                    <a:pt x="22249" y="126717"/>
                    <a:pt x="24468" y="130970"/>
                  </a:cubicBezTo>
                  <a:lnTo>
                    <a:pt x="17134" y="141324"/>
                  </a:lnTo>
                  <a:cubicBezTo>
                    <a:pt x="14915" y="144468"/>
                    <a:pt x="15224" y="148782"/>
                    <a:pt x="17935" y="151555"/>
                  </a:cubicBezTo>
                  <a:lnTo>
                    <a:pt x="36857" y="170785"/>
                  </a:lnTo>
                  <a:cubicBezTo>
                    <a:pt x="39568" y="173558"/>
                    <a:pt x="43883" y="173990"/>
                    <a:pt x="47088" y="171771"/>
                  </a:cubicBezTo>
                  <a:lnTo>
                    <a:pt x="57565" y="164560"/>
                  </a:lnTo>
                  <a:cubicBezTo>
                    <a:pt x="61756" y="166779"/>
                    <a:pt x="66132" y="168628"/>
                    <a:pt x="70632" y="170045"/>
                  </a:cubicBezTo>
                  <a:lnTo>
                    <a:pt x="72789" y="182557"/>
                  </a:lnTo>
                  <a:cubicBezTo>
                    <a:pt x="73466" y="186378"/>
                    <a:pt x="76733" y="189213"/>
                    <a:pt x="80616" y="189213"/>
                  </a:cubicBezTo>
                  <a:lnTo>
                    <a:pt x="107550" y="189398"/>
                  </a:lnTo>
                  <a:cubicBezTo>
                    <a:pt x="107550" y="189398"/>
                    <a:pt x="107611" y="189398"/>
                    <a:pt x="107611" y="189398"/>
                  </a:cubicBezTo>
                  <a:cubicBezTo>
                    <a:pt x="111494" y="189398"/>
                    <a:pt x="114761" y="186625"/>
                    <a:pt x="115500" y="182865"/>
                  </a:cubicBezTo>
                  <a:lnTo>
                    <a:pt x="117842" y="170354"/>
                  </a:lnTo>
                  <a:cubicBezTo>
                    <a:pt x="122403" y="168998"/>
                    <a:pt x="126779" y="167210"/>
                    <a:pt x="130970" y="165053"/>
                  </a:cubicBezTo>
                  <a:lnTo>
                    <a:pt x="141324" y="172387"/>
                  </a:lnTo>
                  <a:cubicBezTo>
                    <a:pt x="144468" y="174606"/>
                    <a:pt x="148782" y="174298"/>
                    <a:pt x="151556" y="171524"/>
                  </a:cubicBezTo>
                  <a:lnTo>
                    <a:pt x="170785" y="152542"/>
                  </a:lnTo>
                  <a:cubicBezTo>
                    <a:pt x="173559" y="149830"/>
                    <a:pt x="173928" y="145515"/>
                    <a:pt x="171771" y="142311"/>
                  </a:cubicBezTo>
                  <a:lnTo>
                    <a:pt x="164622" y="131895"/>
                  </a:lnTo>
                  <a:cubicBezTo>
                    <a:pt x="166902" y="127642"/>
                    <a:pt x="168751" y="123204"/>
                    <a:pt x="170169" y="118767"/>
                  </a:cubicBezTo>
                  <a:lnTo>
                    <a:pt x="182619" y="116671"/>
                  </a:lnTo>
                  <a:cubicBezTo>
                    <a:pt x="186440" y="115993"/>
                    <a:pt x="189275" y="112727"/>
                    <a:pt x="189275" y="108844"/>
                  </a:cubicBezTo>
                  <a:lnTo>
                    <a:pt x="189460" y="81910"/>
                  </a:lnTo>
                  <a:cubicBezTo>
                    <a:pt x="189460" y="78027"/>
                    <a:pt x="186748" y="74699"/>
                    <a:pt x="182927" y="74021"/>
                  </a:cubicBezTo>
                  <a:lnTo>
                    <a:pt x="170477" y="71679"/>
                  </a:lnTo>
                  <a:cubicBezTo>
                    <a:pt x="169121" y="67118"/>
                    <a:pt x="167334" y="62742"/>
                    <a:pt x="165115" y="58490"/>
                  </a:cubicBezTo>
                  <a:lnTo>
                    <a:pt x="172388" y="48135"/>
                  </a:lnTo>
                  <a:cubicBezTo>
                    <a:pt x="174606" y="44992"/>
                    <a:pt x="174237" y="40678"/>
                    <a:pt x="171525" y="37904"/>
                  </a:cubicBezTo>
                  <a:lnTo>
                    <a:pt x="152542" y="18736"/>
                  </a:lnTo>
                  <a:cubicBezTo>
                    <a:pt x="149830" y="15963"/>
                    <a:pt x="145515" y="15593"/>
                    <a:pt x="142311" y="17750"/>
                  </a:cubicBezTo>
                  <a:lnTo>
                    <a:pt x="131833" y="24900"/>
                  </a:lnTo>
                  <a:cubicBezTo>
                    <a:pt x="127642" y="22681"/>
                    <a:pt x="123266" y="20832"/>
                    <a:pt x="118767" y="19414"/>
                  </a:cubicBezTo>
                  <a:lnTo>
                    <a:pt x="116609" y="6841"/>
                  </a:lnTo>
                  <a:cubicBezTo>
                    <a:pt x="115932" y="3020"/>
                    <a:pt x="112665" y="185"/>
                    <a:pt x="108782" y="185"/>
                  </a:cubicBezTo>
                  <a:lnTo>
                    <a:pt x="81849" y="0"/>
                  </a:lnTo>
                  <a:cubicBezTo>
                    <a:pt x="81849" y="0"/>
                    <a:pt x="81787" y="0"/>
                    <a:pt x="81787" y="0"/>
                  </a:cubicBezTo>
                  <a:cubicBezTo>
                    <a:pt x="77904" y="0"/>
                    <a:pt x="74637" y="2773"/>
                    <a:pt x="73898" y="6533"/>
                  </a:cubicBezTo>
                  <a:lnTo>
                    <a:pt x="71617" y="19045"/>
                  </a:lnTo>
                  <a:cubicBezTo>
                    <a:pt x="67118" y="20400"/>
                    <a:pt x="62681" y="22188"/>
                    <a:pt x="58428" y="24345"/>
                  </a:cubicBezTo>
                  <a:lnTo>
                    <a:pt x="48074" y="17072"/>
                  </a:lnTo>
                  <a:cubicBezTo>
                    <a:pt x="44931" y="14853"/>
                    <a:pt x="40616" y="15223"/>
                    <a:pt x="37843" y="17935"/>
                  </a:cubicBezTo>
                  <a:lnTo>
                    <a:pt x="18675" y="36856"/>
                  </a:lnTo>
                  <a:cubicBezTo>
                    <a:pt x="15901" y="39568"/>
                    <a:pt x="15532" y="43883"/>
                    <a:pt x="17689" y="47088"/>
                  </a:cubicBezTo>
                  <a:lnTo>
                    <a:pt x="24900" y="57565"/>
                  </a:lnTo>
                  <a:cubicBezTo>
                    <a:pt x="22619" y="61818"/>
                    <a:pt x="20770" y="66194"/>
                    <a:pt x="19353" y="70693"/>
                  </a:cubicBezTo>
                  <a:lnTo>
                    <a:pt x="6841" y="72850"/>
                  </a:lnTo>
                  <a:cubicBezTo>
                    <a:pt x="3020" y="73528"/>
                    <a:pt x="247" y="76795"/>
                    <a:pt x="185" y="80678"/>
                  </a:cubicBezTo>
                  <a:lnTo>
                    <a:pt x="0" y="107611"/>
                  </a:lnTo>
                  <a:cubicBezTo>
                    <a:pt x="62" y="111432"/>
                    <a:pt x="2835" y="114822"/>
                    <a:pt x="6656" y="115500"/>
                  </a:cubicBezTo>
                  <a:close/>
                  <a:moveTo>
                    <a:pt x="16210" y="87457"/>
                  </a:moveTo>
                  <a:lnTo>
                    <a:pt x="27057" y="85546"/>
                  </a:lnTo>
                  <a:cubicBezTo>
                    <a:pt x="30200" y="84992"/>
                    <a:pt x="32665" y="82650"/>
                    <a:pt x="33467" y="79568"/>
                  </a:cubicBezTo>
                  <a:cubicBezTo>
                    <a:pt x="35069" y="73220"/>
                    <a:pt x="37658" y="67057"/>
                    <a:pt x="41171" y="61386"/>
                  </a:cubicBezTo>
                  <a:cubicBezTo>
                    <a:pt x="42835" y="58675"/>
                    <a:pt x="42773" y="55223"/>
                    <a:pt x="40986" y="52635"/>
                  </a:cubicBezTo>
                  <a:lnTo>
                    <a:pt x="34699" y="43574"/>
                  </a:lnTo>
                  <a:lnTo>
                    <a:pt x="44376" y="34021"/>
                  </a:lnTo>
                  <a:lnTo>
                    <a:pt x="53374" y="40370"/>
                  </a:lnTo>
                  <a:cubicBezTo>
                    <a:pt x="55963" y="42219"/>
                    <a:pt x="59353" y="42280"/>
                    <a:pt x="62064" y="40678"/>
                  </a:cubicBezTo>
                  <a:cubicBezTo>
                    <a:pt x="67858" y="37226"/>
                    <a:pt x="73960" y="34761"/>
                    <a:pt x="80308" y="33343"/>
                  </a:cubicBezTo>
                  <a:cubicBezTo>
                    <a:pt x="83451" y="32665"/>
                    <a:pt x="85855" y="30139"/>
                    <a:pt x="86410" y="26995"/>
                  </a:cubicBezTo>
                  <a:lnTo>
                    <a:pt x="88444" y="16086"/>
                  </a:lnTo>
                  <a:lnTo>
                    <a:pt x="102002" y="16209"/>
                  </a:lnTo>
                  <a:lnTo>
                    <a:pt x="103852" y="27180"/>
                  </a:lnTo>
                  <a:cubicBezTo>
                    <a:pt x="104406" y="30323"/>
                    <a:pt x="106748" y="32850"/>
                    <a:pt x="109892" y="33590"/>
                  </a:cubicBezTo>
                  <a:cubicBezTo>
                    <a:pt x="116240" y="35131"/>
                    <a:pt x="122342" y="37658"/>
                    <a:pt x="128012" y="41171"/>
                  </a:cubicBezTo>
                  <a:cubicBezTo>
                    <a:pt x="130724" y="42835"/>
                    <a:pt x="134113" y="42773"/>
                    <a:pt x="136764" y="40986"/>
                  </a:cubicBezTo>
                  <a:lnTo>
                    <a:pt x="145885" y="34761"/>
                  </a:lnTo>
                  <a:lnTo>
                    <a:pt x="155439" y="44437"/>
                  </a:lnTo>
                  <a:lnTo>
                    <a:pt x="149090" y="53436"/>
                  </a:lnTo>
                  <a:cubicBezTo>
                    <a:pt x="147241" y="56024"/>
                    <a:pt x="147118" y="59476"/>
                    <a:pt x="148782" y="62188"/>
                  </a:cubicBezTo>
                  <a:cubicBezTo>
                    <a:pt x="152295" y="67919"/>
                    <a:pt x="154760" y="74083"/>
                    <a:pt x="156178" y="80431"/>
                  </a:cubicBezTo>
                  <a:cubicBezTo>
                    <a:pt x="156918" y="83513"/>
                    <a:pt x="159383" y="85916"/>
                    <a:pt x="162526" y="86533"/>
                  </a:cubicBezTo>
                  <a:lnTo>
                    <a:pt x="173374" y="88567"/>
                  </a:lnTo>
                  <a:lnTo>
                    <a:pt x="173312" y="102064"/>
                  </a:lnTo>
                  <a:lnTo>
                    <a:pt x="162403" y="103913"/>
                  </a:lnTo>
                  <a:cubicBezTo>
                    <a:pt x="159198" y="104468"/>
                    <a:pt x="156671" y="106872"/>
                    <a:pt x="155931" y="110015"/>
                  </a:cubicBezTo>
                  <a:cubicBezTo>
                    <a:pt x="154514" y="116240"/>
                    <a:pt x="151925" y="122341"/>
                    <a:pt x="148351" y="128196"/>
                  </a:cubicBezTo>
                  <a:cubicBezTo>
                    <a:pt x="146686" y="130908"/>
                    <a:pt x="146748" y="134298"/>
                    <a:pt x="148536" y="136948"/>
                  </a:cubicBezTo>
                  <a:lnTo>
                    <a:pt x="154760" y="146008"/>
                  </a:lnTo>
                  <a:lnTo>
                    <a:pt x="145084" y="155562"/>
                  </a:lnTo>
                  <a:lnTo>
                    <a:pt x="136086" y="149213"/>
                  </a:lnTo>
                  <a:cubicBezTo>
                    <a:pt x="133497" y="147364"/>
                    <a:pt x="130046" y="147241"/>
                    <a:pt x="127334" y="148905"/>
                  </a:cubicBezTo>
                  <a:cubicBezTo>
                    <a:pt x="121663" y="152295"/>
                    <a:pt x="115562" y="154822"/>
                    <a:pt x="109090" y="156240"/>
                  </a:cubicBezTo>
                  <a:cubicBezTo>
                    <a:pt x="105947" y="156917"/>
                    <a:pt x="103605" y="159444"/>
                    <a:pt x="102989" y="162588"/>
                  </a:cubicBezTo>
                  <a:lnTo>
                    <a:pt x="100955" y="173497"/>
                  </a:lnTo>
                  <a:lnTo>
                    <a:pt x="87396" y="173373"/>
                  </a:lnTo>
                  <a:lnTo>
                    <a:pt x="85547" y="162465"/>
                  </a:lnTo>
                  <a:cubicBezTo>
                    <a:pt x="84992" y="159321"/>
                    <a:pt x="82650" y="156794"/>
                    <a:pt x="79568" y="156055"/>
                  </a:cubicBezTo>
                  <a:cubicBezTo>
                    <a:pt x="73220" y="154514"/>
                    <a:pt x="67057" y="151925"/>
                    <a:pt x="61325" y="148412"/>
                  </a:cubicBezTo>
                  <a:cubicBezTo>
                    <a:pt x="58613" y="146748"/>
                    <a:pt x="55223" y="146810"/>
                    <a:pt x="52573" y="148659"/>
                  </a:cubicBezTo>
                  <a:lnTo>
                    <a:pt x="43513" y="154884"/>
                  </a:lnTo>
                  <a:lnTo>
                    <a:pt x="34022" y="145207"/>
                  </a:lnTo>
                  <a:lnTo>
                    <a:pt x="40370" y="136209"/>
                  </a:lnTo>
                  <a:cubicBezTo>
                    <a:pt x="42219" y="133620"/>
                    <a:pt x="42342" y="130169"/>
                    <a:pt x="40678" y="127457"/>
                  </a:cubicBezTo>
                  <a:cubicBezTo>
                    <a:pt x="37165" y="121602"/>
                    <a:pt x="34638" y="115439"/>
                    <a:pt x="33220" y="109152"/>
                  </a:cubicBezTo>
                  <a:cubicBezTo>
                    <a:pt x="32481" y="106009"/>
                    <a:pt x="30015" y="103605"/>
                    <a:pt x="26872" y="103050"/>
                  </a:cubicBezTo>
                  <a:lnTo>
                    <a:pt x="16025" y="101078"/>
                  </a:lnTo>
                  <a:lnTo>
                    <a:pt x="16210" y="87457"/>
                  </a:lnTo>
                  <a:close/>
                </a:path>
              </a:pathLst>
            </a:custGeom>
            <a:grpFill/>
            <a:ln w="61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33" name="Forma libre: forma 332">
              <a:extLst>
                <a:ext uri="{FF2B5EF4-FFF2-40B4-BE49-F238E27FC236}">
                  <a16:creationId xmlns:a16="http://schemas.microsoft.com/office/drawing/2014/main" id="{0DD50704-C12E-42D1-B747-162D50B7AE38}"/>
                </a:ext>
              </a:extLst>
            </p:cNvPr>
            <p:cNvSpPr/>
            <p:nvPr/>
          </p:nvSpPr>
          <p:spPr>
            <a:xfrm>
              <a:off x="8149118" y="2040040"/>
              <a:ext cx="92449" cy="92449"/>
            </a:xfrm>
            <a:custGeom>
              <a:avLst/>
              <a:gdLst>
                <a:gd name="connsiteX0" fmla="*/ 48135 w 92449"/>
                <a:gd name="connsiteY0" fmla="*/ 96394 h 92449"/>
                <a:gd name="connsiteX1" fmla="*/ 48135 w 92449"/>
                <a:gd name="connsiteY1" fmla="*/ 96394 h 92449"/>
                <a:gd name="connsiteX2" fmla="*/ 96332 w 92449"/>
                <a:gd name="connsiteY2" fmla="*/ 48197 h 92449"/>
                <a:gd name="connsiteX3" fmla="*/ 82219 w 92449"/>
                <a:gd name="connsiteY3" fmla="*/ 14114 h 92449"/>
                <a:gd name="connsiteX4" fmla="*/ 48197 w 92449"/>
                <a:gd name="connsiteY4" fmla="*/ 0 h 92449"/>
                <a:gd name="connsiteX5" fmla="*/ 48135 w 92449"/>
                <a:gd name="connsiteY5" fmla="*/ 0 h 92449"/>
                <a:gd name="connsiteX6" fmla="*/ 0 w 92449"/>
                <a:gd name="connsiteY6" fmla="*/ 48197 h 92449"/>
                <a:gd name="connsiteX7" fmla="*/ 14114 w 92449"/>
                <a:gd name="connsiteY7" fmla="*/ 82280 h 92449"/>
                <a:gd name="connsiteX8" fmla="*/ 48135 w 92449"/>
                <a:gd name="connsiteY8" fmla="*/ 96394 h 92449"/>
                <a:gd name="connsiteX9" fmla="*/ 48135 w 92449"/>
                <a:gd name="connsiteY9" fmla="*/ 16086 h 92449"/>
                <a:gd name="connsiteX10" fmla="*/ 48135 w 92449"/>
                <a:gd name="connsiteY10" fmla="*/ 16086 h 92449"/>
                <a:gd name="connsiteX11" fmla="*/ 70878 w 92449"/>
                <a:gd name="connsiteY11" fmla="*/ 25516 h 92449"/>
                <a:gd name="connsiteX12" fmla="*/ 80308 w 92449"/>
                <a:gd name="connsiteY12" fmla="*/ 48259 h 92449"/>
                <a:gd name="connsiteX13" fmla="*/ 48135 w 92449"/>
                <a:gd name="connsiteY13" fmla="*/ 80431 h 92449"/>
                <a:gd name="connsiteX14" fmla="*/ 48135 w 92449"/>
                <a:gd name="connsiteY14" fmla="*/ 80431 h 92449"/>
                <a:gd name="connsiteX15" fmla="*/ 25393 w 92449"/>
                <a:gd name="connsiteY15" fmla="*/ 71001 h 92449"/>
                <a:gd name="connsiteX16" fmla="*/ 15963 w 92449"/>
                <a:gd name="connsiteY16" fmla="*/ 48259 h 92449"/>
                <a:gd name="connsiteX17" fmla="*/ 48135 w 92449"/>
                <a:gd name="connsiteY17" fmla="*/ 16086 h 9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449" h="92449">
                  <a:moveTo>
                    <a:pt x="48135" y="96394"/>
                  </a:moveTo>
                  <a:cubicBezTo>
                    <a:pt x="48135" y="96394"/>
                    <a:pt x="48135" y="96394"/>
                    <a:pt x="48135" y="96394"/>
                  </a:cubicBezTo>
                  <a:cubicBezTo>
                    <a:pt x="74699" y="96394"/>
                    <a:pt x="96332" y="74761"/>
                    <a:pt x="96332" y="48197"/>
                  </a:cubicBezTo>
                  <a:cubicBezTo>
                    <a:pt x="96332" y="35316"/>
                    <a:pt x="91340" y="23236"/>
                    <a:pt x="82219" y="14114"/>
                  </a:cubicBezTo>
                  <a:cubicBezTo>
                    <a:pt x="73097" y="4992"/>
                    <a:pt x="61017" y="0"/>
                    <a:pt x="48197" y="0"/>
                  </a:cubicBezTo>
                  <a:cubicBezTo>
                    <a:pt x="48197" y="0"/>
                    <a:pt x="48197" y="0"/>
                    <a:pt x="48135" y="0"/>
                  </a:cubicBezTo>
                  <a:cubicBezTo>
                    <a:pt x="21572" y="0"/>
                    <a:pt x="0" y="21633"/>
                    <a:pt x="0" y="48197"/>
                  </a:cubicBezTo>
                  <a:cubicBezTo>
                    <a:pt x="0" y="61078"/>
                    <a:pt x="4992" y="73158"/>
                    <a:pt x="14114" y="82280"/>
                  </a:cubicBezTo>
                  <a:cubicBezTo>
                    <a:pt x="23174" y="91402"/>
                    <a:pt x="35254" y="96394"/>
                    <a:pt x="48135" y="96394"/>
                  </a:cubicBezTo>
                  <a:close/>
                  <a:moveTo>
                    <a:pt x="48135" y="16086"/>
                  </a:moveTo>
                  <a:cubicBezTo>
                    <a:pt x="48135" y="16086"/>
                    <a:pt x="48135" y="16086"/>
                    <a:pt x="48135" y="16086"/>
                  </a:cubicBezTo>
                  <a:cubicBezTo>
                    <a:pt x="56764" y="16086"/>
                    <a:pt x="64838" y="19414"/>
                    <a:pt x="70878" y="25516"/>
                  </a:cubicBezTo>
                  <a:cubicBezTo>
                    <a:pt x="76980" y="31618"/>
                    <a:pt x="80308" y="39692"/>
                    <a:pt x="80308" y="48259"/>
                  </a:cubicBezTo>
                  <a:cubicBezTo>
                    <a:pt x="80308" y="66009"/>
                    <a:pt x="65886" y="80431"/>
                    <a:pt x="48135" y="80431"/>
                  </a:cubicBezTo>
                  <a:cubicBezTo>
                    <a:pt x="48135" y="80431"/>
                    <a:pt x="48135" y="80431"/>
                    <a:pt x="48135" y="80431"/>
                  </a:cubicBezTo>
                  <a:cubicBezTo>
                    <a:pt x="39568" y="80431"/>
                    <a:pt x="31494" y="77103"/>
                    <a:pt x="25393" y="71001"/>
                  </a:cubicBezTo>
                  <a:cubicBezTo>
                    <a:pt x="19291" y="64900"/>
                    <a:pt x="15963" y="56826"/>
                    <a:pt x="15963" y="48259"/>
                  </a:cubicBezTo>
                  <a:cubicBezTo>
                    <a:pt x="15963" y="30508"/>
                    <a:pt x="30385" y="16086"/>
                    <a:pt x="48135" y="16086"/>
                  </a:cubicBezTo>
                  <a:close/>
                </a:path>
              </a:pathLst>
            </a:custGeom>
            <a:grpFill/>
            <a:ln w="61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34" name="Forma libre: forma 333">
              <a:extLst>
                <a:ext uri="{FF2B5EF4-FFF2-40B4-BE49-F238E27FC236}">
                  <a16:creationId xmlns:a16="http://schemas.microsoft.com/office/drawing/2014/main" id="{3CAEBBE9-CE08-406D-8C2C-70CEFA42C020}"/>
                </a:ext>
              </a:extLst>
            </p:cNvPr>
            <p:cNvSpPr/>
            <p:nvPr/>
          </p:nvSpPr>
          <p:spPr>
            <a:xfrm>
              <a:off x="8464123" y="2052489"/>
              <a:ext cx="67796" cy="67796"/>
            </a:xfrm>
            <a:custGeom>
              <a:avLst/>
              <a:gdLst>
                <a:gd name="connsiteX0" fmla="*/ 35686 w 67796"/>
                <a:gd name="connsiteY0" fmla="*/ 71309 h 67796"/>
                <a:gd name="connsiteX1" fmla="*/ 35686 w 67796"/>
                <a:gd name="connsiteY1" fmla="*/ 71309 h 67796"/>
                <a:gd name="connsiteX2" fmla="*/ 60893 w 67796"/>
                <a:gd name="connsiteY2" fmla="*/ 60832 h 67796"/>
                <a:gd name="connsiteX3" fmla="*/ 71309 w 67796"/>
                <a:gd name="connsiteY3" fmla="*/ 35624 h 67796"/>
                <a:gd name="connsiteX4" fmla="*/ 35624 w 67796"/>
                <a:gd name="connsiteY4" fmla="*/ 0 h 67796"/>
                <a:gd name="connsiteX5" fmla="*/ 0 w 67796"/>
                <a:gd name="connsiteY5" fmla="*/ 35685 h 67796"/>
                <a:gd name="connsiteX6" fmla="*/ 35686 w 67796"/>
                <a:gd name="connsiteY6" fmla="*/ 71309 h 67796"/>
                <a:gd name="connsiteX7" fmla="*/ 35686 w 67796"/>
                <a:gd name="connsiteY7" fmla="*/ 16025 h 67796"/>
                <a:gd name="connsiteX8" fmla="*/ 55347 w 67796"/>
                <a:gd name="connsiteY8" fmla="*/ 35685 h 67796"/>
                <a:gd name="connsiteX9" fmla="*/ 49615 w 67796"/>
                <a:gd name="connsiteY9" fmla="*/ 49553 h 67796"/>
                <a:gd name="connsiteX10" fmla="*/ 35747 w 67796"/>
                <a:gd name="connsiteY10" fmla="*/ 55346 h 67796"/>
                <a:gd name="connsiteX11" fmla="*/ 35747 w 67796"/>
                <a:gd name="connsiteY11" fmla="*/ 55346 h 67796"/>
                <a:gd name="connsiteX12" fmla="*/ 16086 w 67796"/>
                <a:gd name="connsiteY12" fmla="*/ 35747 h 67796"/>
                <a:gd name="connsiteX13" fmla="*/ 35686 w 67796"/>
                <a:gd name="connsiteY13" fmla="*/ 16025 h 67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796" h="67796">
                  <a:moveTo>
                    <a:pt x="35686" y="71309"/>
                  </a:moveTo>
                  <a:cubicBezTo>
                    <a:pt x="35686" y="71309"/>
                    <a:pt x="35686" y="71309"/>
                    <a:pt x="35686" y="71309"/>
                  </a:cubicBezTo>
                  <a:cubicBezTo>
                    <a:pt x="45239" y="71309"/>
                    <a:pt x="54176" y="67611"/>
                    <a:pt x="60893" y="60832"/>
                  </a:cubicBezTo>
                  <a:cubicBezTo>
                    <a:pt x="67612" y="54114"/>
                    <a:pt x="71309" y="45115"/>
                    <a:pt x="71309" y="35624"/>
                  </a:cubicBezTo>
                  <a:cubicBezTo>
                    <a:pt x="71309" y="15963"/>
                    <a:pt x="55347" y="0"/>
                    <a:pt x="35624" y="0"/>
                  </a:cubicBezTo>
                  <a:cubicBezTo>
                    <a:pt x="15963" y="0"/>
                    <a:pt x="0" y="16025"/>
                    <a:pt x="0" y="35685"/>
                  </a:cubicBezTo>
                  <a:cubicBezTo>
                    <a:pt x="62" y="55346"/>
                    <a:pt x="16025" y="71309"/>
                    <a:pt x="35686" y="71309"/>
                  </a:cubicBezTo>
                  <a:close/>
                  <a:moveTo>
                    <a:pt x="35686" y="16025"/>
                  </a:moveTo>
                  <a:cubicBezTo>
                    <a:pt x="46533" y="16025"/>
                    <a:pt x="55347" y="24838"/>
                    <a:pt x="55347" y="35685"/>
                  </a:cubicBezTo>
                  <a:cubicBezTo>
                    <a:pt x="55347" y="40924"/>
                    <a:pt x="53313" y="45855"/>
                    <a:pt x="49615" y="49553"/>
                  </a:cubicBezTo>
                  <a:cubicBezTo>
                    <a:pt x="45917" y="53251"/>
                    <a:pt x="40986" y="55346"/>
                    <a:pt x="35747" y="55346"/>
                  </a:cubicBezTo>
                  <a:cubicBezTo>
                    <a:pt x="35747" y="55346"/>
                    <a:pt x="35747" y="55346"/>
                    <a:pt x="35747" y="55346"/>
                  </a:cubicBezTo>
                  <a:cubicBezTo>
                    <a:pt x="24900" y="55346"/>
                    <a:pt x="16148" y="46533"/>
                    <a:pt x="16086" y="35747"/>
                  </a:cubicBezTo>
                  <a:cubicBezTo>
                    <a:pt x="16086" y="24838"/>
                    <a:pt x="24900" y="16025"/>
                    <a:pt x="35686" y="16025"/>
                  </a:cubicBezTo>
                  <a:close/>
                </a:path>
              </a:pathLst>
            </a:custGeom>
            <a:grpFill/>
            <a:ln w="61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35" name="Forma libre: forma 334">
              <a:extLst>
                <a:ext uri="{FF2B5EF4-FFF2-40B4-BE49-F238E27FC236}">
                  <a16:creationId xmlns:a16="http://schemas.microsoft.com/office/drawing/2014/main" id="{748B37BA-6D55-4662-9FDB-2A9B0E4C1636}"/>
                </a:ext>
              </a:extLst>
            </p:cNvPr>
            <p:cNvSpPr/>
            <p:nvPr/>
          </p:nvSpPr>
          <p:spPr>
            <a:xfrm>
              <a:off x="8400457" y="1988762"/>
              <a:ext cx="197225" cy="197225"/>
            </a:xfrm>
            <a:custGeom>
              <a:avLst/>
              <a:gdLst>
                <a:gd name="connsiteX0" fmla="*/ 8012 w 197225"/>
                <a:gd name="connsiteY0" fmla="*/ 107426 h 197225"/>
                <a:gd name="connsiteX1" fmla="*/ 18675 w 197225"/>
                <a:gd name="connsiteY1" fmla="*/ 107426 h 197225"/>
                <a:gd name="connsiteX2" fmla="*/ 91401 w 197225"/>
                <a:gd name="connsiteY2" fmla="*/ 180091 h 197225"/>
                <a:gd name="connsiteX3" fmla="*/ 91401 w 197225"/>
                <a:gd name="connsiteY3" fmla="*/ 190754 h 197225"/>
                <a:gd name="connsiteX4" fmla="*/ 99414 w 197225"/>
                <a:gd name="connsiteY4" fmla="*/ 198766 h 197225"/>
                <a:gd name="connsiteX5" fmla="*/ 107426 w 197225"/>
                <a:gd name="connsiteY5" fmla="*/ 190754 h 197225"/>
                <a:gd name="connsiteX6" fmla="*/ 107426 w 197225"/>
                <a:gd name="connsiteY6" fmla="*/ 180091 h 197225"/>
                <a:gd name="connsiteX7" fmla="*/ 180091 w 197225"/>
                <a:gd name="connsiteY7" fmla="*/ 107365 h 197225"/>
                <a:gd name="connsiteX8" fmla="*/ 190754 w 197225"/>
                <a:gd name="connsiteY8" fmla="*/ 107365 h 197225"/>
                <a:gd name="connsiteX9" fmla="*/ 198766 w 197225"/>
                <a:gd name="connsiteY9" fmla="*/ 99352 h 197225"/>
                <a:gd name="connsiteX10" fmla="*/ 190754 w 197225"/>
                <a:gd name="connsiteY10" fmla="*/ 91340 h 197225"/>
                <a:gd name="connsiteX11" fmla="*/ 180091 w 197225"/>
                <a:gd name="connsiteY11" fmla="*/ 91340 h 197225"/>
                <a:gd name="connsiteX12" fmla="*/ 107365 w 197225"/>
                <a:gd name="connsiteY12" fmla="*/ 18675 h 197225"/>
                <a:gd name="connsiteX13" fmla="*/ 107365 w 197225"/>
                <a:gd name="connsiteY13" fmla="*/ 8012 h 197225"/>
                <a:gd name="connsiteX14" fmla="*/ 99352 w 197225"/>
                <a:gd name="connsiteY14" fmla="*/ 0 h 197225"/>
                <a:gd name="connsiteX15" fmla="*/ 91340 w 197225"/>
                <a:gd name="connsiteY15" fmla="*/ 8012 h 197225"/>
                <a:gd name="connsiteX16" fmla="*/ 91340 w 197225"/>
                <a:gd name="connsiteY16" fmla="*/ 18675 h 197225"/>
                <a:gd name="connsiteX17" fmla="*/ 18675 w 197225"/>
                <a:gd name="connsiteY17" fmla="*/ 91402 h 197225"/>
                <a:gd name="connsiteX18" fmla="*/ 8012 w 197225"/>
                <a:gd name="connsiteY18" fmla="*/ 91402 h 197225"/>
                <a:gd name="connsiteX19" fmla="*/ 0 w 197225"/>
                <a:gd name="connsiteY19" fmla="*/ 99414 h 197225"/>
                <a:gd name="connsiteX20" fmla="*/ 8012 w 197225"/>
                <a:gd name="connsiteY20" fmla="*/ 107426 h 197225"/>
                <a:gd name="connsiteX21" fmla="*/ 91340 w 197225"/>
                <a:gd name="connsiteY21" fmla="*/ 34823 h 197225"/>
                <a:gd name="connsiteX22" fmla="*/ 91340 w 197225"/>
                <a:gd name="connsiteY22" fmla="*/ 44561 h 197225"/>
                <a:gd name="connsiteX23" fmla="*/ 99352 w 197225"/>
                <a:gd name="connsiteY23" fmla="*/ 52573 h 197225"/>
                <a:gd name="connsiteX24" fmla="*/ 107365 w 197225"/>
                <a:gd name="connsiteY24" fmla="*/ 44561 h 197225"/>
                <a:gd name="connsiteX25" fmla="*/ 107365 w 197225"/>
                <a:gd name="connsiteY25" fmla="*/ 34823 h 197225"/>
                <a:gd name="connsiteX26" fmla="*/ 163944 w 197225"/>
                <a:gd name="connsiteY26" fmla="*/ 91340 h 197225"/>
                <a:gd name="connsiteX27" fmla="*/ 154205 w 197225"/>
                <a:gd name="connsiteY27" fmla="*/ 91340 h 197225"/>
                <a:gd name="connsiteX28" fmla="*/ 146193 w 197225"/>
                <a:gd name="connsiteY28" fmla="*/ 99352 h 197225"/>
                <a:gd name="connsiteX29" fmla="*/ 154205 w 197225"/>
                <a:gd name="connsiteY29" fmla="*/ 107365 h 197225"/>
                <a:gd name="connsiteX30" fmla="*/ 163944 w 197225"/>
                <a:gd name="connsiteY30" fmla="*/ 107365 h 197225"/>
                <a:gd name="connsiteX31" fmla="*/ 107426 w 197225"/>
                <a:gd name="connsiteY31" fmla="*/ 163944 h 197225"/>
                <a:gd name="connsiteX32" fmla="*/ 107426 w 197225"/>
                <a:gd name="connsiteY32" fmla="*/ 154206 h 197225"/>
                <a:gd name="connsiteX33" fmla="*/ 99414 w 197225"/>
                <a:gd name="connsiteY33" fmla="*/ 146193 h 197225"/>
                <a:gd name="connsiteX34" fmla="*/ 91401 w 197225"/>
                <a:gd name="connsiteY34" fmla="*/ 154206 h 197225"/>
                <a:gd name="connsiteX35" fmla="*/ 91401 w 197225"/>
                <a:gd name="connsiteY35" fmla="*/ 163944 h 197225"/>
                <a:gd name="connsiteX36" fmla="*/ 34822 w 197225"/>
                <a:gd name="connsiteY36" fmla="*/ 107426 h 197225"/>
                <a:gd name="connsiteX37" fmla="*/ 44561 w 197225"/>
                <a:gd name="connsiteY37" fmla="*/ 107426 h 197225"/>
                <a:gd name="connsiteX38" fmla="*/ 52573 w 197225"/>
                <a:gd name="connsiteY38" fmla="*/ 99414 h 197225"/>
                <a:gd name="connsiteX39" fmla="*/ 44561 w 197225"/>
                <a:gd name="connsiteY39" fmla="*/ 91402 h 197225"/>
                <a:gd name="connsiteX40" fmla="*/ 34822 w 197225"/>
                <a:gd name="connsiteY40" fmla="*/ 91402 h 197225"/>
                <a:gd name="connsiteX41" fmla="*/ 91340 w 197225"/>
                <a:gd name="connsiteY41" fmla="*/ 34823 h 19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7225" h="197225">
                  <a:moveTo>
                    <a:pt x="8012" y="107426"/>
                  </a:moveTo>
                  <a:lnTo>
                    <a:pt x="18675" y="107426"/>
                  </a:lnTo>
                  <a:cubicBezTo>
                    <a:pt x="22434" y="145762"/>
                    <a:pt x="53066" y="176332"/>
                    <a:pt x="91401" y="180091"/>
                  </a:cubicBezTo>
                  <a:lnTo>
                    <a:pt x="91401" y="190754"/>
                  </a:lnTo>
                  <a:cubicBezTo>
                    <a:pt x="91401" y="195192"/>
                    <a:pt x="94976" y="198766"/>
                    <a:pt x="99414" y="198766"/>
                  </a:cubicBezTo>
                  <a:cubicBezTo>
                    <a:pt x="103851" y="198766"/>
                    <a:pt x="107426" y="195192"/>
                    <a:pt x="107426" y="190754"/>
                  </a:cubicBezTo>
                  <a:lnTo>
                    <a:pt x="107426" y="180091"/>
                  </a:lnTo>
                  <a:cubicBezTo>
                    <a:pt x="145762" y="176270"/>
                    <a:pt x="176332" y="145700"/>
                    <a:pt x="180091" y="107365"/>
                  </a:cubicBezTo>
                  <a:lnTo>
                    <a:pt x="190754" y="107365"/>
                  </a:lnTo>
                  <a:cubicBezTo>
                    <a:pt x="195192" y="107365"/>
                    <a:pt x="198766" y="103790"/>
                    <a:pt x="198766" y="99352"/>
                  </a:cubicBezTo>
                  <a:cubicBezTo>
                    <a:pt x="198766" y="94915"/>
                    <a:pt x="195192" y="91340"/>
                    <a:pt x="190754" y="91340"/>
                  </a:cubicBezTo>
                  <a:lnTo>
                    <a:pt x="180091" y="91340"/>
                  </a:lnTo>
                  <a:cubicBezTo>
                    <a:pt x="176332" y="53004"/>
                    <a:pt x="145700" y="22434"/>
                    <a:pt x="107365" y="18675"/>
                  </a:cubicBezTo>
                  <a:lnTo>
                    <a:pt x="107365" y="8012"/>
                  </a:lnTo>
                  <a:cubicBezTo>
                    <a:pt x="107365" y="3575"/>
                    <a:pt x="103790" y="0"/>
                    <a:pt x="99352" y="0"/>
                  </a:cubicBezTo>
                  <a:cubicBezTo>
                    <a:pt x="94915" y="0"/>
                    <a:pt x="91340" y="3575"/>
                    <a:pt x="91340" y="8012"/>
                  </a:cubicBezTo>
                  <a:lnTo>
                    <a:pt x="91340" y="18675"/>
                  </a:lnTo>
                  <a:cubicBezTo>
                    <a:pt x="53004" y="22496"/>
                    <a:pt x="22434" y="53066"/>
                    <a:pt x="18675" y="91402"/>
                  </a:cubicBezTo>
                  <a:lnTo>
                    <a:pt x="8012" y="91402"/>
                  </a:lnTo>
                  <a:cubicBezTo>
                    <a:pt x="3574" y="91402"/>
                    <a:pt x="0" y="94976"/>
                    <a:pt x="0" y="99414"/>
                  </a:cubicBezTo>
                  <a:cubicBezTo>
                    <a:pt x="0" y="103851"/>
                    <a:pt x="3574" y="107426"/>
                    <a:pt x="8012" y="107426"/>
                  </a:cubicBezTo>
                  <a:close/>
                  <a:moveTo>
                    <a:pt x="91340" y="34823"/>
                  </a:moveTo>
                  <a:lnTo>
                    <a:pt x="91340" y="44561"/>
                  </a:lnTo>
                  <a:cubicBezTo>
                    <a:pt x="91340" y="48998"/>
                    <a:pt x="94915" y="52573"/>
                    <a:pt x="99352" y="52573"/>
                  </a:cubicBezTo>
                  <a:cubicBezTo>
                    <a:pt x="103790" y="52573"/>
                    <a:pt x="107365" y="48998"/>
                    <a:pt x="107365" y="44561"/>
                  </a:cubicBezTo>
                  <a:lnTo>
                    <a:pt x="107365" y="34823"/>
                  </a:lnTo>
                  <a:cubicBezTo>
                    <a:pt x="136825" y="38459"/>
                    <a:pt x="160246" y="61818"/>
                    <a:pt x="163944" y="91340"/>
                  </a:cubicBezTo>
                  <a:lnTo>
                    <a:pt x="154205" y="91340"/>
                  </a:lnTo>
                  <a:cubicBezTo>
                    <a:pt x="149768" y="91340"/>
                    <a:pt x="146193" y="94915"/>
                    <a:pt x="146193" y="99352"/>
                  </a:cubicBezTo>
                  <a:cubicBezTo>
                    <a:pt x="146193" y="103790"/>
                    <a:pt x="149768" y="107365"/>
                    <a:pt x="154205" y="107365"/>
                  </a:cubicBezTo>
                  <a:lnTo>
                    <a:pt x="163944" y="107365"/>
                  </a:lnTo>
                  <a:cubicBezTo>
                    <a:pt x="160307" y="136825"/>
                    <a:pt x="136887" y="160246"/>
                    <a:pt x="107426" y="163944"/>
                  </a:cubicBezTo>
                  <a:lnTo>
                    <a:pt x="107426" y="154206"/>
                  </a:lnTo>
                  <a:cubicBezTo>
                    <a:pt x="107426" y="149768"/>
                    <a:pt x="103851" y="146193"/>
                    <a:pt x="99414" y="146193"/>
                  </a:cubicBezTo>
                  <a:cubicBezTo>
                    <a:pt x="94976" y="146193"/>
                    <a:pt x="91401" y="149768"/>
                    <a:pt x="91401" y="154206"/>
                  </a:cubicBezTo>
                  <a:lnTo>
                    <a:pt x="91401" y="163944"/>
                  </a:lnTo>
                  <a:cubicBezTo>
                    <a:pt x="61941" y="160307"/>
                    <a:pt x="38521" y="136948"/>
                    <a:pt x="34822" y="107426"/>
                  </a:cubicBezTo>
                  <a:lnTo>
                    <a:pt x="44561" y="107426"/>
                  </a:lnTo>
                  <a:cubicBezTo>
                    <a:pt x="48998" y="107426"/>
                    <a:pt x="52573" y="103851"/>
                    <a:pt x="52573" y="99414"/>
                  </a:cubicBezTo>
                  <a:cubicBezTo>
                    <a:pt x="52573" y="94976"/>
                    <a:pt x="48998" y="91402"/>
                    <a:pt x="44561" y="91402"/>
                  </a:cubicBezTo>
                  <a:lnTo>
                    <a:pt x="34822" y="91402"/>
                  </a:lnTo>
                  <a:cubicBezTo>
                    <a:pt x="38459" y="61941"/>
                    <a:pt x="61879" y="38521"/>
                    <a:pt x="91340" y="34823"/>
                  </a:cubicBezTo>
                  <a:close/>
                </a:path>
              </a:pathLst>
            </a:custGeom>
            <a:grpFill/>
            <a:ln w="615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grpSp>
      <p:grpSp>
        <p:nvGrpSpPr>
          <p:cNvPr id="336" name="Gráfico 453">
            <a:extLst>
              <a:ext uri="{FF2B5EF4-FFF2-40B4-BE49-F238E27FC236}">
                <a16:creationId xmlns:a16="http://schemas.microsoft.com/office/drawing/2014/main" id="{64E19E0F-A9E5-4435-BBC9-3E03C47D58FD}"/>
              </a:ext>
            </a:extLst>
          </p:cNvPr>
          <p:cNvGrpSpPr/>
          <p:nvPr/>
        </p:nvGrpSpPr>
        <p:grpSpPr>
          <a:xfrm>
            <a:off x="4399762" y="5547555"/>
            <a:ext cx="373518" cy="373518"/>
            <a:chOff x="7134023" y="5549928"/>
            <a:chExt cx="499566" cy="499566"/>
          </a:xfrm>
          <a:solidFill>
            <a:schemeClr val="accent1"/>
          </a:solidFill>
        </p:grpSpPr>
        <p:sp>
          <p:nvSpPr>
            <p:cNvPr id="337" name="Forma libre: forma 336">
              <a:extLst>
                <a:ext uri="{FF2B5EF4-FFF2-40B4-BE49-F238E27FC236}">
                  <a16:creationId xmlns:a16="http://schemas.microsoft.com/office/drawing/2014/main" id="{C3F6FF11-FD8B-4B00-B7B5-D13510386929}"/>
                </a:ext>
              </a:extLst>
            </p:cNvPr>
            <p:cNvSpPr/>
            <p:nvPr/>
          </p:nvSpPr>
          <p:spPr>
            <a:xfrm>
              <a:off x="7586458" y="5727952"/>
              <a:ext cx="6250" cy="240906"/>
            </a:xfrm>
            <a:custGeom>
              <a:avLst/>
              <a:gdLst>
                <a:gd name="connsiteX0" fmla="*/ 0 w 6250"/>
                <a:gd name="connsiteY0" fmla="*/ 0 h 240906"/>
                <a:gd name="connsiteX1" fmla="*/ 0 w 6250"/>
                <a:gd name="connsiteY1" fmla="*/ 240907 h 240906"/>
              </a:gdLst>
              <a:ahLst/>
              <a:cxnLst>
                <a:cxn ang="0">
                  <a:pos x="connsiteX0" y="connsiteY0"/>
                </a:cxn>
                <a:cxn ang="0">
                  <a:pos x="connsiteX1" y="connsiteY1"/>
                </a:cxn>
              </a:cxnLst>
              <a:rect l="l" t="t" r="r" b="b"/>
              <a:pathLst>
                <a:path w="6250" h="240906">
                  <a:moveTo>
                    <a:pt x="0" y="0"/>
                  </a:moveTo>
                  <a:lnTo>
                    <a:pt x="0" y="240907"/>
                  </a:lnTo>
                </a:path>
              </a:pathLst>
            </a:custGeom>
            <a:ln w="12700" cap="flat">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38" name="Forma libre: forma 337">
              <a:extLst>
                <a:ext uri="{FF2B5EF4-FFF2-40B4-BE49-F238E27FC236}">
                  <a16:creationId xmlns:a16="http://schemas.microsoft.com/office/drawing/2014/main" id="{19B34D96-8F09-424D-BA8A-D78BBE400683}"/>
                </a:ext>
              </a:extLst>
            </p:cNvPr>
            <p:cNvSpPr/>
            <p:nvPr/>
          </p:nvSpPr>
          <p:spPr>
            <a:xfrm>
              <a:off x="7167840" y="5650254"/>
              <a:ext cx="229217" cy="318604"/>
            </a:xfrm>
            <a:custGeom>
              <a:avLst/>
              <a:gdLst>
                <a:gd name="connsiteX0" fmla="*/ 0 w 229217"/>
                <a:gd name="connsiteY0" fmla="*/ 318605 h 318604"/>
                <a:gd name="connsiteX1" fmla="*/ 0 w 229217"/>
                <a:gd name="connsiteY1" fmla="*/ 30066 h 318604"/>
                <a:gd name="connsiteX2" fmla="*/ 30567 w 229217"/>
                <a:gd name="connsiteY2" fmla="*/ 0 h 318604"/>
                <a:gd name="connsiteX3" fmla="*/ 229218 w 229217"/>
                <a:gd name="connsiteY3" fmla="*/ 0 h 318604"/>
              </a:gdLst>
              <a:ahLst/>
              <a:cxnLst>
                <a:cxn ang="0">
                  <a:pos x="connsiteX0" y="connsiteY0"/>
                </a:cxn>
                <a:cxn ang="0">
                  <a:pos x="connsiteX1" y="connsiteY1"/>
                </a:cxn>
                <a:cxn ang="0">
                  <a:pos x="connsiteX2" y="connsiteY2"/>
                </a:cxn>
                <a:cxn ang="0">
                  <a:pos x="connsiteX3" y="connsiteY3"/>
                </a:cxn>
              </a:cxnLst>
              <a:rect l="l" t="t" r="r" b="b"/>
              <a:pathLst>
                <a:path w="229217" h="318604">
                  <a:moveTo>
                    <a:pt x="0" y="318605"/>
                  </a:moveTo>
                  <a:lnTo>
                    <a:pt x="0" y="30066"/>
                  </a:lnTo>
                  <a:cubicBezTo>
                    <a:pt x="0" y="13502"/>
                    <a:pt x="13689" y="0"/>
                    <a:pt x="30567" y="0"/>
                  </a:cubicBezTo>
                  <a:lnTo>
                    <a:pt x="229218" y="0"/>
                  </a:lnTo>
                </a:path>
              </a:pathLst>
            </a:custGeom>
            <a:noFill/>
            <a:ln w="12700" cap="flat">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39" name="Forma libre: forma 338">
              <a:extLst>
                <a:ext uri="{FF2B5EF4-FFF2-40B4-BE49-F238E27FC236}">
                  <a16:creationId xmlns:a16="http://schemas.microsoft.com/office/drawing/2014/main" id="{E6AD06EC-C83D-4E66-A293-5731E7AB2BC8}"/>
                </a:ext>
              </a:extLst>
            </p:cNvPr>
            <p:cNvSpPr/>
            <p:nvPr/>
          </p:nvSpPr>
          <p:spPr>
            <a:xfrm>
              <a:off x="7134023" y="5968859"/>
              <a:ext cx="484876" cy="80636"/>
            </a:xfrm>
            <a:custGeom>
              <a:avLst/>
              <a:gdLst>
                <a:gd name="connsiteX0" fmla="*/ 484877 w 484876"/>
                <a:gd name="connsiteY0" fmla="*/ 13939 h 80636"/>
                <a:gd name="connsiteX1" fmla="*/ 484877 w 484876"/>
                <a:gd name="connsiteY1" fmla="*/ 66696 h 80636"/>
                <a:gd name="connsiteX2" fmla="*/ 470937 w 484876"/>
                <a:gd name="connsiteY2" fmla="*/ 80636 h 80636"/>
                <a:gd name="connsiteX3" fmla="*/ 13939 w 484876"/>
                <a:gd name="connsiteY3" fmla="*/ 80636 h 80636"/>
                <a:gd name="connsiteX4" fmla="*/ 0 w 484876"/>
                <a:gd name="connsiteY4" fmla="*/ 66759 h 80636"/>
                <a:gd name="connsiteX5" fmla="*/ 0 w 484876"/>
                <a:gd name="connsiteY5" fmla="*/ 14002 h 80636"/>
                <a:gd name="connsiteX6" fmla="*/ 13939 w 484876"/>
                <a:gd name="connsiteY6" fmla="*/ 0 h 80636"/>
                <a:gd name="connsiteX7" fmla="*/ 470937 w 484876"/>
                <a:gd name="connsiteY7" fmla="*/ 0 h 80636"/>
                <a:gd name="connsiteX8" fmla="*/ 484877 w 484876"/>
                <a:gd name="connsiteY8" fmla="*/ 13939 h 80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4876" h="80636">
                  <a:moveTo>
                    <a:pt x="484877" y="13939"/>
                  </a:moveTo>
                  <a:lnTo>
                    <a:pt x="484877" y="66696"/>
                  </a:lnTo>
                  <a:cubicBezTo>
                    <a:pt x="484877" y="74385"/>
                    <a:pt x="478626" y="80636"/>
                    <a:pt x="470937" y="80636"/>
                  </a:cubicBezTo>
                  <a:lnTo>
                    <a:pt x="13939" y="80636"/>
                  </a:lnTo>
                  <a:cubicBezTo>
                    <a:pt x="6251" y="80698"/>
                    <a:pt x="0" y="74447"/>
                    <a:pt x="0" y="66759"/>
                  </a:cubicBezTo>
                  <a:lnTo>
                    <a:pt x="0" y="14002"/>
                  </a:lnTo>
                  <a:cubicBezTo>
                    <a:pt x="0" y="6251"/>
                    <a:pt x="6251" y="0"/>
                    <a:pt x="13939" y="0"/>
                  </a:cubicBezTo>
                  <a:lnTo>
                    <a:pt x="470937" y="0"/>
                  </a:lnTo>
                  <a:cubicBezTo>
                    <a:pt x="478689" y="0"/>
                    <a:pt x="484877" y="6251"/>
                    <a:pt x="484877" y="13939"/>
                  </a:cubicBezTo>
                  <a:close/>
                </a:path>
              </a:pathLst>
            </a:custGeom>
            <a:noFill/>
            <a:ln w="12700" cap="flat">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40" name="Forma libre: forma 339">
              <a:extLst>
                <a:ext uri="{FF2B5EF4-FFF2-40B4-BE49-F238E27FC236}">
                  <a16:creationId xmlns:a16="http://schemas.microsoft.com/office/drawing/2014/main" id="{C5F11AEC-1C40-4130-A902-6BAD4DE188CE}"/>
                </a:ext>
              </a:extLst>
            </p:cNvPr>
            <p:cNvSpPr/>
            <p:nvPr/>
          </p:nvSpPr>
          <p:spPr>
            <a:xfrm>
              <a:off x="7368054" y="6008427"/>
              <a:ext cx="18252" cy="6250"/>
            </a:xfrm>
            <a:custGeom>
              <a:avLst/>
              <a:gdLst>
                <a:gd name="connsiteX0" fmla="*/ 0 w 18252"/>
                <a:gd name="connsiteY0" fmla="*/ 0 h 6250"/>
                <a:gd name="connsiteX1" fmla="*/ 18252 w 18252"/>
                <a:gd name="connsiteY1" fmla="*/ 0 h 6250"/>
              </a:gdLst>
              <a:ahLst/>
              <a:cxnLst>
                <a:cxn ang="0">
                  <a:pos x="connsiteX0" y="connsiteY0"/>
                </a:cxn>
                <a:cxn ang="0">
                  <a:pos x="connsiteX1" y="connsiteY1"/>
                </a:cxn>
              </a:cxnLst>
              <a:rect l="l" t="t" r="r" b="b"/>
              <a:pathLst>
                <a:path w="18252" h="6250">
                  <a:moveTo>
                    <a:pt x="0" y="0"/>
                  </a:moveTo>
                  <a:lnTo>
                    <a:pt x="18252" y="0"/>
                  </a:lnTo>
                </a:path>
              </a:pathLst>
            </a:custGeom>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41" name="Forma libre: forma 340">
              <a:extLst>
                <a:ext uri="{FF2B5EF4-FFF2-40B4-BE49-F238E27FC236}">
                  <a16:creationId xmlns:a16="http://schemas.microsoft.com/office/drawing/2014/main" id="{102A3F1C-28E5-4165-8307-E77EA0655BE7}"/>
                </a:ext>
              </a:extLst>
            </p:cNvPr>
            <p:cNvSpPr/>
            <p:nvPr/>
          </p:nvSpPr>
          <p:spPr>
            <a:xfrm>
              <a:off x="7417248" y="5549928"/>
              <a:ext cx="216341" cy="215966"/>
            </a:xfrm>
            <a:custGeom>
              <a:avLst/>
              <a:gdLst>
                <a:gd name="connsiteX0" fmla="*/ 185400 w 216341"/>
                <a:gd name="connsiteY0" fmla="*/ 0 h 215966"/>
                <a:gd name="connsiteX1" fmla="*/ 30942 w 216341"/>
                <a:gd name="connsiteY1" fmla="*/ 0 h 215966"/>
                <a:gd name="connsiteX2" fmla="*/ 0 w 216341"/>
                <a:gd name="connsiteY2" fmla="*/ 31567 h 215966"/>
                <a:gd name="connsiteX3" fmla="*/ 0 w 216341"/>
                <a:gd name="connsiteY3" fmla="*/ 124954 h 215966"/>
                <a:gd name="connsiteX4" fmla="*/ 30942 w 216341"/>
                <a:gd name="connsiteY4" fmla="*/ 156521 h 215966"/>
                <a:gd name="connsiteX5" fmla="*/ 56320 w 216341"/>
                <a:gd name="connsiteY5" fmla="*/ 156521 h 215966"/>
                <a:gd name="connsiteX6" fmla="*/ 41318 w 216341"/>
                <a:gd name="connsiteY6" fmla="*/ 215966 h 215966"/>
                <a:gd name="connsiteX7" fmla="*/ 121016 w 216341"/>
                <a:gd name="connsiteY7" fmla="*/ 156521 h 215966"/>
                <a:gd name="connsiteX8" fmla="*/ 185400 w 216341"/>
                <a:gd name="connsiteY8" fmla="*/ 156521 h 215966"/>
                <a:gd name="connsiteX9" fmla="*/ 216341 w 216341"/>
                <a:gd name="connsiteY9" fmla="*/ 124954 h 215966"/>
                <a:gd name="connsiteX10" fmla="*/ 216341 w 216341"/>
                <a:gd name="connsiteY10" fmla="*/ 31567 h 215966"/>
                <a:gd name="connsiteX11" fmla="*/ 185400 w 216341"/>
                <a:gd name="connsiteY11" fmla="*/ 0 h 215966"/>
                <a:gd name="connsiteX12" fmla="*/ 54257 w 216341"/>
                <a:gd name="connsiteY12" fmla="*/ 84199 h 215966"/>
                <a:gd name="connsiteX13" fmla="*/ 47381 w 216341"/>
                <a:gd name="connsiteY13" fmla="*/ 77198 h 215966"/>
                <a:gd name="connsiteX14" fmla="*/ 54257 w 216341"/>
                <a:gd name="connsiteY14" fmla="*/ 70197 h 215966"/>
                <a:gd name="connsiteX15" fmla="*/ 61133 w 216341"/>
                <a:gd name="connsiteY15" fmla="*/ 77198 h 215966"/>
                <a:gd name="connsiteX16" fmla="*/ 54257 w 216341"/>
                <a:gd name="connsiteY16" fmla="*/ 84199 h 215966"/>
                <a:gd name="connsiteX17" fmla="*/ 108952 w 216341"/>
                <a:gd name="connsiteY17" fmla="*/ 85761 h 215966"/>
                <a:gd name="connsiteX18" fmla="*/ 102076 w 216341"/>
                <a:gd name="connsiteY18" fmla="*/ 78760 h 215966"/>
                <a:gd name="connsiteX19" fmla="*/ 108952 w 216341"/>
                <a:gd name="connsiteY19" fmla="*/ 71760 h 215966"/>
                <a:gd name="connsiteX20" fmla="*/ 115828 w 216341"/>
                <a:gd name="connsiteY20" fmla="*/ 78760 h 215966"/>
                <a:gd name="connsiteX21" fmla="*/ 108952 w 216341"/>
                <a:gd name="connsiteY21" fmla="*/ 85761 h 215966"/>
                <a:gd name="connsiteX22" fmla="*/ 163647 w 216341"/>
                <a:gd name="connsiteY22" fmla="*/ 85761 h 215966"/>
                <a:gd name="connsiteX23" fmla="*/ 156771 w 216341"/>
                <a:gd name="connsiteY23" fmla="*/ 78760 h 215966"/>
                <a:gd name="connsiteX24" fmla="*/ 163647 w 216341"/>
                <a:gd name="connsiteY24" fmla="*/ 71760 h 215966"/>
                <a:gd name="connsiteX25" fmla="*/ 170523 w 216341"/>
                <a:gd name="connsiteY25" fmla="*/ 78760 h 215966"/>
                <a:gd name="connsiteX26" fmla="*/ 163647 w 216341"/>
                <a:gd name="connsiteY26" fmla="*/ 85761 h 215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6341" h="215966">
                  <a:moveTo>
                    <a:pt x="185400" y="0"/>
                  </a:moveTo>
                  <a:lnTo>
                    <a:pt x="30942" y="0"/>
                  </a:lnTo>
                  <a:cubicBezTo>
                    <a:pt x="13877" y="0"/>
                    <a:pt x="0" y="14127"/>
                    <a:pt x="0" y="31567"/>
                  </a:cubicBezTo>
                  <a:lnTo>
                    <a:pt x="0" y="124954"/>
                  </a:lnTo>
                  <a:cubicBezTo>
                    <a:pt x="0" y="142394"/>
                    <a:pt x="13814" y="156521"/>
                    <a:pt x="30942" y="156521"/>
                  </a:cubicBezTo>
                  <a:lnTo>
                    <a:pt x="56320" y="156521"/>
                  </a:lnTo>
                  <a:lnTo>
                    <a:pt x="41318" y="215966"/>
                  </a:lnTo>
                  <a:lnTo>
                    <a:pt x="121016" y="156521"/>
                  </a:lnTo>
                  <a:lnTo>
                    <a:pt x="185400" y="156521"/>
                  </a:lnTo>
                  <a:cubicBezTo>
                    <a:pt x="202464" y="156521"/>
                    <a:pt x="216341" y="142394"/>
                    <a:pt x="216341" y="124954"/>
                  </a:cubicBezTo>
                  <a:lnTo>
                    <a:pt x="216341" y="31567"/>
                  </a:lnTo>
                  <a:cubicBezTo>
                    <a:pt x="216341" y="14127"/>
                    <a:pt x="202464" y="0"/>
                    <a:pt x="185400" y="0"/>
                  </a:cubicBezTo>
                  <a:close/>
                  <a:moveTo>
                    <a:pt x="54257" y="84199"/>
                  </a:moveTo>
                  <a:cubicBezTo>
                    <a:pt x="50444" y="84199"/>
                    <a:pt x="47381" y="81073"/>
                    <a:pt x="47381" y="77198"/>
                  </a:cubicBezTo>
                  <a:cubicBezTo>
                    <a:pt x="47381" y="73322"/>
                    <a:pt x="50444" y="70197"/>
                    <a:pt x="54257" y="70197"/>
                  </a:cubicBezTo>
                  <a:cubicBezTo>
                    <a:pt x="58070" y="70197"/>
                    <a:pt x="61133" y="73322"/>
                    <a:pt x="61133" y="77198"/>
                  </a:cubicBezTo>
                  <a:cubicBezTo>
                    <a:pt x="61133" y="81011"/>
                    <a:pt x="58070" y="84199"/>
                    <a:pt x="54257" y="84199"/>
                  </a:cubicBezTo>
                  <a:close/>
                  <a:moveTo>
                    <a:pt x="108952" y="85761"/>
                  </a:moveTo>
                  <a:cubicBezTo>
                    <a:pt x="105139" y="85761"/>
                    <a:pt x="102076" y="82636"/>
                    <a:pt x="102076" y="78760"/>
                  </a:cubicBezTo>
                  <a:cubicBezTo>
                    <a:pt x="102076" y="74885"/>
                    <a:pt x="105139" y="71760"/>
                    <a:pt x="108952" y="71760"/>
                  </a:cubicBezTo>
                  <a:cubicBezTo>
                    <a:pt x="112765" y="71760"/>
                    <a:pt x="115828" y="74885"/>
                    <a:pt x="115828" y="78760"/>
                  </a:cubicBezTo>
                  <a:cubicBezTo>
                    <a:pt x="115828" y="82573"/>
                    <a:pt x="112765" y="85761"/>
                    <a:pt x="108952" y="85761"/>
                  </a:cubicBezTo>
                  <a:close/>
                  <a:moveTo>
                    <a:pt x="163647" y="85761"/>
                  </a:moveTo>
                  <a:cubicBezTo>
                    <a:pt x="159834" y="85761"/>
                    <a:pt x="156771" y="82636"/>
                    <a:pt x="156771" y="78760"/>
                  </a:cubicBezTo>
                  <a:cubicBezTo>
                    <a:pt x="156771" y="74885"/>
                    <a:pt x="159834" y="71760"/>
                    <a:pt x="163647" y="71760"/>
                  </a:cubicBezTo>
                  <a:cubicBezTo>
                    <a:pt x="167460" y="71760"/>
                    <a:pt x="170523" y="74885"/>
                    <a:pt x="170523" y="78760"/>
                  </a:cubicBezTo>
                  <a:cubicBezTo>
                    <a:pt x="170523" y="82573"/>
                    <a:pt x="167460" y="85761"/>
                    <a:pt x="163647" y="85761"/>
                  </a:cubicBezTo>
                  <a:close/>
                </a:path>
              </a:pathLst>
            </a:custGeom>
            <a:solidFill>
              <a:schemeClr val="bg1"/>
            </a:solid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42" name="Forma libre: forma 341">
              <a:extLst>
                <a:ext uri="{FF2B5EF4-FFF2-40B4-BE49-F238E27FC236}">
                  <a16:creationId xmlns:a16="http://schemas.microsoft.com/office/drawing/2014/main" id="{D49B133C-0FF9-4DDD-935D-049CAA88A63C}"/>
                </a:ext>
              </a:extLst>
            </p:cNvPr>
            <p:cNvSpPr/>
            <p:nvPr/>
          </p:nvSpPr>
          <p:spPr>
            <a:xfrm>
              <a:off x="7464630" y="5620063"/>
              <a:ext cx="13751" cy="14001"/>
            </a:xfrm>
            <a:custGeom>
              <a:avLst/>
              <a:gdLst>
                <a:gd name="connsiteX0" fmla="*/ 13752 w 13751"/>
                <a:gd name="connsiteY0" fmla="*/ 7001 h 14001"/>
                <a:gd name="connsiteX1" fmla="*/ 6876 w 13751"/>
                <a:gd name="connsiteY1" fmla="*/ 14002 h 14001"/>
                <a:gd name="connsiteX2" fmla="*/ 0 w 13751"/>
                <a:gd name="connsiteY2" fmla="*/ 7001 h 14001"/>
                <a:gd name="connsiteX3" fmla="*/ 6876 w 13751"/>
                <a:gd name="connsiteY3" fmla="*/ 0 h 14001"/>
                <a:gd name="connsiteX4" fmla="*/ 13752 w 13751"/>
                <a:gd name="connsiteY4" fmla="*/ 7001 h 14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1" h="14001">
                  <a:moveTo>
                    <a:pt x="13752" y="7001"/>
                  </a:moveTo>
                  <a:cubicBezTo>
                    <a:pt x="13752" y="10876"/>
                    <a:pt x="10689" y="14002"/>
                    <a:pt x="6876" y="14002"/>
                  </a:cubicBezTo>
                  <a:cubicBezTo>
                    <a:pt x="3063" y="14002"/>
                    <a:pt x="0" y="10876"/>
                    <a:pt x="0" y="7001"/>
                  </a:cubicBezTo>
                  <a:cubicBezTo>
                    <a:pt x="0" y="3125"/>
                    <a:pt x="3063" y="0"/>
                    <a:pt x="6876" y="0"/>
                  </a:cubicBezTo>
                  <a:cubicBezTo>
                    <a:pt x="10689" y="0"/>
                    <a:pt x="13752" y="3125"/>
                    <a:pt x="13752" y="7001"/>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43" name="Forma libre: forma 342">
              <a:extLst>
                <a:ext uri="{FF2B5EF4-FFF2-40B4-BE49-F238E27FC236}">
                  <a16:creationId xmlns:a16="http://schemas.microsoft.com/office/drawing/2014/main" id="{23250E4F-B9D4-4C8E-B5A8-93C4419E4A2F}"/>
                </a:ext>
              </a:extLst>
            </p:cNvPr>
            <p:cNvSpPr/>
            <p:nvPr/>
          </p:nvSpPr>
          <p:spPr>
            <a:xfrm>
              <a:off x="7519324" y="5621625"/>
              <a:ext cx="13751" cy="14001"/>
            </a:xfrm>
            <a:custGeom>
              <a:avLst/>
              <a:gdLst>
                <a:gd name="connsiteX0" fmla="*/ 13752 w 13751"/>
                <a:gd name="connsiteY0" fmla="*/ 7001 h 14001"/>
                <a:gd name="connsiteX1" fmla="*/ 6876 w 13751"/>
                <a:gd name="connsiteY1" fmla="*/ 14002 h 14001"/>
                <a:gd name="connsiteX2" fmla="*/ 0 w 13751"/>
                <a:gd name="connsiteY2" fmla="*/ 7001 h 14001"/>
                <a:gd name="connsiteX3" fmla="*/ 6876 w 13751"/>
                <a:gd name="connsiteY3" fmla="*/ 0 h 14001"/>
                <a:gd name="connsiteX4" fmla="*/ 13752 w 13751"/>
                <a:gd name="connsiteY4" fmla="*/ 7001 h 14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1" h="14001">
                  <a:moveTo>
                    <a:pt x="13752" y="7001"/>
                  </a:moveTo>
                  <a:cubicBezTo>
                    <a:pt x="13752" y="10876"/>
                    <a:pt x="10689" y="14002"/>
                    <a:pt x="6876" y="14002"/>
                  </a:cubicBezTo>
                  <a:cubicBezTo>
                    <a:pt x="3063" y="14002"/>
                    <a:pt x="0" y="10876"/>
                    <a:pt x="0" y="7001"/>
                  </a:cubicBezTo>
                  <a:cubicBezTo>
                    <a:pt x="0" y="3125"/>
                    <a:pt x="3063" y="0"/>
                    <a:pt x="6876" y="0"/>
                  </a:cubicBezTo>
                  <a:cubicBezTo>
                    <a:pt x="10689" y="0"/>
                    <a:pt x="13752" y="3125"/>
                    <a:pt x="13752" y="7001"/>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44" name="Forma libre: forma 343">
              <a:extLst>
                <a:ext uri="{FF2B5EF4-FFF2-40B4-BE49-F238E27FC236}">
                  <a16:creationId xmlns:a16="http://schemas.microsoft.com/office/drawing/2014/main" id="{0E741EC4-71CE-4058-A38A-2A11C4C9073D}"/>
                </a:ext>
              </a:extLst>
            </p:cNvPr>
            <p:cNvSpPr/>
            <p:nvPr/>
          </p:nvSpPr>
          <p:spPr>
            <a:xfrm>
              <a:off x="7574019" y="5621625"/>
              <a:ext cx="13751" cy="14001"/>
            </a:xfrm>
            <a:custGeom>
              <a:avLst/>
              <a:gdLst>
                <a:gd name="connsiteX0" fmla="*/ 13752 w 13751"/>
                <a:gd name="connsiteY0" fmla="*/ 7001 h 14001"/>
                <a:gd name="connsiteX1" fmla="*/ 6876 w 13751"/>
                <a:gd name="connsiteY1" fmla="*/ 14002 h 14001"/>
                <a:gd name="connsiteX2" fmla="*/ 0 w 13751"/>
                <a:gd name="connsiteY2" fmla="*/ 7001 h 14001"/>
                <a:gd name="connsiteX3" fmla="*/ 6876 w 13751"/>
                <a:gd name="connsiteY3" fmla="*/ 0 h 14001"/>
                <a:gd name="connsiteX4" fmla="*/ 13752 w 13751"/>
                <a:gd name="connsiteY4" fmla="*/ 7001 h 14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51" h="14001">
                  <a:moveTo>
                    <a:pt x="13752" y="7001"/>
                  </a:moveTo>
                  <a:cubicBezTo>
                    <a:pt x="13752" y="10876"/>
                    <a:pt x="10689" y="14002"/>
                    <a:pt x="6876" y="14002"/>
                  </a:cubicBezTo>
                  <a:cubicBezTo>
                    <a:pt x="3063" y="14002"/>
                    <a:pt x="0" y="10876"/>
                    <a:pt x="0" y="7001"/>
                  </a:cubicBezTo>
                  <a:cubicBezTo>
                    <a:pt x="0" y="3125"/>
                    <a:pt x="3063" y="0"/>
                    <a:pt x="6876" y="0"/>
                  </a:cubicBezTo>
                  <a:cubicBezTo>
                    <a:pt x="10689" y="0"/>
                    <a:pt x="13752" y="3125"/>
                    <a:pt x="13752" y="7001"/>
                  </a:cubicBezTo>
                  <a:close/>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45" name="Forma libre: forma 344">
              <a:extLst>
                <a:ext uri="{FF2B5EF4-FFF2-40B4-BE49-F238E27FC236}">
                  <a16:creationId xmlns:a16="http://schemas.microsoft.com/office/drawing/2014/main" id="{54011585-306D-40D7-B121-A11DD49BC673}"/>
                </a:ext>
              </a:extLst>
            </p:cNvPr>
            <p:cNvSpPr/>
            <p:nvPr/>
          </p:nvSpPr>
          <p:spPr>
            <a:xfrm>
              <a:off x="7465942" y="5622438"/>
              <a:ext cx="11126" cy="9251"/>
            </a:xfrm>
            <a:custGeom>
              <a:avLst/>
              <a:gdLst>
                <a:gd name="connsiteX0" fmla="*/ 11126 w 11126"/>
                <a:gd name="connsiteY0" fmla="*/ 4626 h 9251"/>
                <a:gd name="connsiteX1" fmla="*/ 5563 w 11126"/>
                <a:gd name="connsiteY1" fmla="*/ 9251 h 9251"/>
                <a:gd name="connsiteX2" fmla="*/ 0 w 11126"/>
                <a:gd name="connsiteY2" fmla="*/ 4626 h 9251"/>
                <a:gd name="connsiteX3" fmla="*/ 5563 w 11126"/>
                <a:gd name="connsiteY3" fmla="*/ 0 h 9251"/>
                <a:gd name="connsiteX4" fmla="*/ 11126 w 11126"/>
                <a:gd name="connsiteY4" fmla="*/ 4626 h 9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6" h="9251">
                  <a:moveTo>
                    <a:pt x="11126" y="4626"/>
                  </a:moveTo>
                  <a:cubicBezTo>
                    <a:pt x="11126" y="7188"/>
                    <a:pt x="8626" y="9251"/>
                    <a:pt x="5563" y="9251"/>
                  </a:cubicBezTo>
                  <a:cubicBezTo>
                    <a:pt x="2500" y="9251"/>
                    <a:pt x="0" y="7188"/>
                    <a:pt x="0" y="4626"/>
                  </a:cubicBezTo>
                  <a:cubicBezTo>
                    <a:pt x="0" y="2063"/>
                    <a:pt x="2500" y="0"/>
                    <a:pt x="5563" y="0"/>
                  </a:cubicBezTo>
                  <a:cubicBezTo>
                    <a:pt x="8626" y="0"/>
                    <a:pt x="11126" y="2063"/>
                    <a:pt x="11126" y="4626"/>
                  </a:cubicBezTo>
                  <a:close/>
                </a:path>
              </a:pathLst>
            </a:custGeom>
            <a:noFill/>
            <a:ln w="12700" cap="flat">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46" name="Forma libre: forma 345">
              <a:extLst>
                <a:ext uri="{FF2B5EF4-FFF2-40B4-BE49-F238E27FC236}">
                  <a16:creationId xmlns:a16="http://schemas.microsoft.com/office/drawing/2014/main" id="{71020C29-BCA2-48F9-9842-92C162F96656}"/>
                </a:ext>
              </a:extLst>
            </p:cNvPr>
            <p:cNvSpPr/>
            <p:nvPr/>
          </p:nvSpPr>
          <p:spPr>
            <a:xfrm>
              <a:off x="7520700" y="5624001"/>
              <a:ext cx="11126" cy="9251"/>
            </a:xfrm>
            <a:custGeom>
              <a:avLst/>
              <a:gdLst>
                <a:gd name="connsiteX0" fmla="*/ 11126 w 11126"/>
                <a:gd name="connsiteY0" fmla="*/ 4626 h 9251"/>
                <a:gd name="connsiteX1" fmla="*/ 5563 w 11126"/>
                <a:gd name="connsiteY1" fmla="*/ 9251 h 9251"/>
                <a:gd name="connsiteX2" fmla="*/ 0 w 11126"/>
                <a:gd name="connsiteY2" fmla="*/ 4626 h 9251"/>
                <a:gd name="connsiteX3" fmla="*/ 5563 w 11126"/>
                <a:gd name="connsiteY3" fmla="*/ 0 h 9251"/>
                <a:gd name="connsiteX4" fmla="*/ 11126 w 11126"/>
                <a:gd name="connsiteY4" fmla="*/ 4626 h 9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6" h="9251">
                  <a:moveTo>
                    <a:pt x="11126" y="4626"/>
                  </a:moveTo>
                  <a:cubicBezTo>
                    <a:pt x="11126" y="7188"/>
                    <a:pt x="8626" y="9251"/>
                    <a:pt x="5563" y="9251"/>
                  </a:cubicBezTo>
                  <a:cubicBezTo>
                    <a:pt x="2500" y="9251"/>
                    <a:pt x="0" y="7188"/>
                    <a:pt x="0" y="4626"/>
                  </a:cubicBezTo>
                  <a:cubicBezTo>
                    <a:pt x="0" y="2063"/>
                    <a:pt x="2500" y="0"/>
                    <a:pt x="5563" y="0"/>
                  </a:cubicBezTo>
                  <a:cubicBezTo>
                    <a:pt x="8626" y="0"/>
                    <a:pt x="11126" y="2063"/>
                    <a:pt x="11126" y="4626"/>
                  </a:cubicBezTo>
                  <a:close/>
                </a:path>
              </a:pathLst>
            </a:custGeom>
            <a:noFill/>
            <a:ln w="12700" cap="flat">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47" name="Forma libre: forma 346">
              <a:extLst>
                <a:ext uri="{FF2B5EF4-FFF2-40B4-BE49-F238E27FC236}">
                  <a16:creationId xmlns:a16="http://schemas.microsoft.com/office/drawing/2014/main" id="{9F0E1D5B-14F9-477A-B649-CE91E0EA38A3}"/>
                </a:ext>
              </a:extLst>
            </p:cNvPr>
            <p:cNvSpPr/>
            <p:nvPr/>
          </p:nvSpPr>
          <p:spPr>
            <a:xfrm>
              <a:off x="7575394" y="5624001"/>
              <a:ext cx="11126" cy="9251"/>
            </a:xfrm>
            <a:custGeom>
              <a:avLst/>
              <a:gdLst>
                <a:gd name="connsiteX0" fmla="*/ 11126 w 11126"/>
                <a:gd name="connsiteY0" fmla="*/ 4626 h 9251"/>
                <a:gd name="connsiteX1" fmla="*/ 5563 w 11126"/>
                <a:gd name="connsiteY1" fmla="*/ 9251 h 9251"/>
                <a:gd name="connsiteX2" fmla="*/ 0 w 11126"/>
                <a:gd name="connsiteY2" fmla="*/ 4626 h 9251"/>
                <a:gd name="connsiteX3" fmla="*/ 5563 w 11126"/>
                <a:gd name="connsiteY3" fmla="*/ 0 h 9251"/>
                <a:gd name="connsiteX4" fmla="*/ 11126 w 11126"/>
                <a:gd name="connsiteY4" fmla="*/ 4626 h 92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6" h="9251">
                  <a:moveTo>
                    <a:pt x="11126" y="4626"/>
                  </a:moveTo>
                  <a:cubicBezTo>
                    <a:pt x="11126" y="7188"/>
                    <a:pt x="8626" y="9251"/>
                    <a:pt x="5563" y="9251"/>
                  </a:cubicBezTo>
                  <a:cubicBezTo>
                    <a:pt x="2500" y="9251"/>
                    <a:pt x="0" y="7188"/>
                    <a:pt x="0" y="4626"/>
                  </a:cubicBezTo>
                  <a:cubicBezTo>
                    <a:pt x="0" y="2063"/>
                    <a:pt x="2500" y="0"/>
                    <a:pt x="5563" y="0"/>
                  </a:cubicBezTo>
                  <a:cubicBezTo>
                    <a:pt x="8626" y="0"/>
                    <a:pt x="11126" y="2063"/>
                    <a:pt x="11126" y="4626"/>
                  </a:cubicBezTo>
                  <a:close/>
                </a:path>
              </a:pathLst>
            </a:custGeom>
            <a:noFill/>
            <a:ln w="12700" cap="flat">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48" name="Forma libre: forma 347">
              <a:extLst>
                <a:ext uri="{FF2B5EF4-FFF2-40B4-BE49-F238E27FC236}">
                  <a16:creationId xmlns:a16="http://schemas.microsoft.com/office/drawing/2014/main" id="{0DE9D3EA-8715-44F9-839D-904595360565}"/>
                </a:ext>
              </a:extLst>
            </p:cNvPr>
            <p:cNvSpPr/>
            <p:nvPr/>
          </p:nvSpPr>
          <p:spPr>
            <a:xfrm>
              <a:off x="7343739" y="5760331"/>
              <a:ext cx="70634" cy="69384"/>
            </a:xfrm>
            <a:custGeom>
              <a:avLst/>
              <a:gdLst>
                <a:gd name="connsiteX0" fmla="*/ 70634 w 70634"/>
                <a:gd name="connsiteY0" fmla="*/ 34692 h 69384"/>
                <a:gd name="connsiteX1" fmla="*/ 35317 w 70634"/>
                <a:gd name="connsiteY1" fmla="*/ 69384 h 69384"/>
                <a:gd name="connsiteX2" fmla="*/ 0 w 70634"/>
                <a:gd name="connsiteY2" fmla="*/ 34692 h 69384"/>
                <a:gd name="connsiteX3" fmla="*/ 35317 w 70634"/>
                <a:gd name="connsiteY3" fmla="*/ 0 h 69384"/>
                <a:gd name="connsiteX4" fmla="*/ 70634 w 70634"/>
                <a:gd name="connsiteY4" fmla="*/ 34692 h 6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34" h="69384">
                  <a:moveTo>
                    <a:pt x="70634" y="34692"/>
                  </a:moveTo>
                  <a:cubicBezTo>
                    <a:pt x="70634" y="53852"/>
                    <a:pt x="54822" y="69384"/>
                    <a:pt x="35317" y="69384"/>
                  </a:cubicBezTo>
                  <a:cubicBezTo>
                    <a:pt x="15812" y="69384"/>
                    <a:pt x="0" y="53852"/>
                    <a:pt x="0" y="34692"/>
                  </a:cubicBezTo>
                  <a:cubicBezTo>
                    <a:pt x="0" y="15532"/>
                    <a:pt x="15812" y="0"/>
                    <a:pt x="35317" y="0"/>
                  </a:cubicBezTo>
                  <a:cubicBezTo>
                    <a:pt x="54822" y="0"/>
                    <a:pt x="70634" y="15532"/>
                    <a:pt x="70634" y="34692"/>
                  </a:cubicBezTo>
                  <a:close/>
                </a:path>
              </a:pathLst>
            </a:custGeom>
            <a:noFill/>
            <a:ln w="1270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49" name="Forma libre: forma 348">
              <a:extLst>
                <a:ext uri="{FF2B5EF4-FFF2-40B4-BE49-F238E27FC236}">
                  <a16:creationId xmlns:a16="http://schemas.microsoft.com/office/drawing/2014/main" id="{4B294D98-632A-44AB-A128-8B4B0C58CA7D}"/>
                </a:ext>
              </a:extLst>
            </p:cNvPr>
            <p:cNvSpPr/>
            <p:nvPr/>
          </p:nvSpPr>
          <p:spPr>
            <a:xfrm>
              <a:off x="7297858" y="5851156"/>
              <a:ext cx="162396" cy="78822"/>
            </a:xfrm>
            <a:custGeom>
              <a:avLst/>
              <a:gdLst>
                <a:gd name="connsiteX0" fmla="*/ 112015 w 162396"/>
                <a:gd name="connsiteY0" fmla="*/ 0 h 78822"/>
                <a:gd name="connsiteX1" fmla="*/ 162397 w 162396"/>
                <a:gd name="connsiteY1" fmla="*/ 78823 h 78822"/>
                <a:gd name="connsiteX2" fmla="*/ 0 w 162396"/>
                <a:gd name="connsiteY2" fmla="*/ 78823 h 78822"/>
                <a:gd name="connsiteX3" fmla="*/ 50382 w 162396"/>
                <a:gd name="connsiteY3" fmla="*/ 0 h 78822"/>
              </a:gdLst>
              <a:ahLst/>
              <a:cxnLst>
                <a:cxn ang="0">
                  <a:pos x="connsiteX0" y="connsiteY0"/>
                </a:cxn>
                <a:cxn ang="0">
                  <a:pos x="connsiteX1" y="connsiteY1"/>
                </a:cxn>
                <a:cxn ang="0">
                  <a:pos x="connsiteX2" y="connsiteY2"/>
                </a:cxn>
                <a:cxn ang="0">
                  <a:pos x="connsiteX3" y="connsiteY3"/>
                </a:cxn>
              </a:cxnLst>
              <a:rect l="l" t="t" r="r" b="b"/>
              <a:pathLst>
                <a:path w="162396" h="78822">
                  <a:moveTo>
                    <a:pt x="112015" y="0"/>
                  </a:moveTo>
                  <a:cubicBezTo>
                    <a:pt x="141519" y="12752"/>
                    <a:pt x="162334" y="43256"/>
                    <a:pt x="162397" y="78823"/>
                  </a:cubicBezTo>
                  <a:lnTo>
                    <a:pt x="0" y="78823"/>
                  </a:lnTo>
                  <a:cubicBezTo>
                    <a:pt x="63" y="43193"/>
                    <a:pt x="20878" y="12752"/>
                    <a:pt x="50382" y="0"/>
                  </a:cubicBezTo>
                </a:path>
              </a:pathLst>
            </a:custGeom>
            <a:noFill/>
            <a:ln w="12700" cap="rnd">
              <a:solidFill>
                <a:schemeClr val="tx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grpSp>
      <p:grpSp>
        <p:nvGrpSpPr>
          <p:cNvPr id="350" name="Grupo 349">
            <a:extLst>
              <a:ext uri="{FF2B5EF4-FFF2-40B4-BE49-F238E27FC236}">
                <a16:creationId xmlns:a16="http://schemas.microsoft.com/office/drawing/2014/main" id="{B9059686-FE6A-4395-839D-D5298AC85427}"/>
              </a:ext>
            </a:extLst>
          </p:cNvPr>
          <p:cNvGrpSpPr/>
          <p:nvPr/>
        </p:nvGrpSpPr>
        <p:grpSpPr>
          <a:xfrm>
            <a:off x="2261557" y="5355928"/>
            <a:ext cx="493149" cy="457876"/>
            <a:chOff x="4791208" y="536224"/>
            <a:chExt cx="1009155" cy="936975"/>
          </a:xfrm>
          <a:solidFill>
            <a:schemeClr val="tx2"/>
          </a:solidFill>
        </p:grpSpPr>
        <p:sp>
          <p:nvSpPr>
            <p:cNvPr id="351" name="Forma libre: forma 350">
              <a:extLst>
                <a:ext uri="{FF2B5EF4-FFF2-40B4-BE49-F238E27FC236}">
                  <a16:creationId xmlns:a16="http://schemas.microsoft.com/office/drawing/2014/main" id="{5EEFCF63-160E-4F06-BB13-FD656ADBA98B}"/>
                </a:ext>
              </a:extLst>
            </p:cNvPr>
            <p:cNvSpPr/>
            <p:nvPr/>
          </p:nvSpPr>
          <p:spPr>
            <a:xfrm>
              <a:off x="5457348" y="987424"/>
              <a:ext cx="320040" cy="485775"/>
            </a:xfrm>
            <a:custGeom>
              <a:avLst/>
              <a:gdLst>
                <a:gd name="connsiteX0" fmla="*/ 313297 w 320040"/>
                <a:gd name="connsiteY0" fmla="*/ 246831 h 485775"/>
                <a:gd name="connsiteX1" fmla="*/ 33548 w 320040"/>
                <a:gd name="connsiteY1" fmla="*/ 9601 h 485775"/>
                <a:gd name="connsiteX2" fmla="*/ 20461 w 320040"/>
                <a:gd name="connsiteY2" fmla="*/ 4286 h 485775"/>
                <a:gd name="connsiteX3" fmla="*/ 9488 w 320040"/>
                <a:gd name="connsiteY3" fmla="*/ 8801 h 485775"/>
                <a:gd name="connsiteX4" fmla="*/ 4287 w 320040"/>
                <a:gd name="connsiteY4" fmla="*/ 23260 h 485775"/>
                <a:gd name="connsiteX5" fmla="*/ 6173 w 320040"/>
                <a:gd name="connsiteY5" fmla="*/ 389992 h 485775"/>
                <a:gd name="connsiteX6" fmla="*/ 22518 w 320040"/>
                <a:gd name="connsiteY6" fmla="*/ 408851 h 485775"/>
                <a:gd name="connsiteX7" fmla="*/ 35548 w 320040"/>
                <a:gd name="connsiteY7" fmla="*/ 403593 h 485775"/>
                <a:gd name="connsiteX8" fmla="*/ 109615 w 320040"/>
                <a:gd name="connsiteY8" fmla="*/ 341757 h 485775"/>
                <a:gd name="connsiteX9" fmla="*/ 170137 w 320040"/>
                <a:gd name="connsiteY9" fmla="*/ 471488 h 485775"/>
                <a:gd name="connsiteX10" fmla="*/ 192939 w 320040"/>
                <a:gd name="connsiteY10" fmla="*/ 486004 h 485775"/>
                <a:gd name="connsiteX11" fmla="*/ 203569 w 320040"/>
                <a:gd name="connsiteY11" fmla="*/ 483660 h 485775"/>
                <a:gd name="connsiteX12" fmla="*/ 258205 w 320040"/>
                <a:gd name="connsiteY12" fmla="*/ 458172 h 485775"/>
                <a:gd name="connsiteX13" fmla="*/ 271235 w 320040"/>
                <a:gd name="connsiteY13" fmla="*/ 443941 h 485775"/>
                <a:gd name="connsiteX14" fmla="*/ 270377 w 320040"/>
                <a:gd name="connsiteY14" fmla="*/ 424682 h 485775"/>
                <a:gd name="connsiteX15" fmla="*/ 209855 w 320040"/>
                <a:gd name="connsiteY15" fmla="*/ 294951 h 485775"/>
                <a:gd name="connsiteX16" fmla="*/ 304839 w 320040"/>
                <a:gd name="connsiteY16" fmla="*/ 277978 h 485775"/>
                <a:gd name="connsiteX17" fmla="*/ 320384 w 320040"/>
                <a:gd name="connsiteY17" fmla="*/ 265405 h 485775"/>
                <a:gd name="connsiteX18" fmla="*/ 313297 w 320040"/>
                <a:gd name="connsiteY18" fmla="*/ 246831 h 485775"/>
                <a:gd name="connsiteX19" fmla="*/ 191282 w 320040"/>
                <a:gd name="connsiteY19" fmla="*/ 275177 h 485775"/>
                <a:gd name="connsiteX20" fmla="*/ 183167 w 320040"/>
                <a:gd name="connsiteY20" fmla="*/ 281178 h 485775"/>
                <a:gd name="connsiteX21" fmla="*/ 182938 w 320040"/>
                <a:gd name="connsiteY21" fmla="*/ 291294 h 485775"/>
                <a:gd name="connsiteX22" fmla="*/ 249689 w 320040"/>
                <a:gd name="connsiteY22" fmla="*/ 434512 h 485775"/>
                <a:gd name="connsiteX23" fmla="*/ 249746 w 320040"/>
                <a:gd name="connsiteY23" fmla="*/ 436283 h 485775"/>
                <a:gd name="connsiteX24" fmla="*/ 248546 w 320040"/>
                <a:gd name="connsiteY24" fmla="*/ 437598 h 485775"/>
                <a:gd name="connsiteX25" fmla="*/ 193911 w 320040"/>
                <a:gd name="connsiteY25" fmla="*/ 463087 h 485775"/>
                <a:gd name="connsiteX26" fmla="*/ 192939 w 320040"/>
                <a:gd name="connsiteY26" fmla="*/ 463315 h 485775"/>
                <a:gd name="connsiteX27" fmla="*/ 190825 w 320040"/>
                <a:gd name="connsiteY27" fmla="*/ 462001 h 485775"/>
                <a:gd name="connsiteX28" fmla="*/ 124074 w 320040"/>
                <a:gd name="connsiteY28" fmla="*/ 318783 h 485775"/>
                <a:gd name="connsiteX29" fmla="*/ 116187 w 320040"/>
                <a:gd name="connsiteY29" fmla="*/ 312439 h 485775"/>
                <a:gd name="connsiteX30" fmla="*/ 113672 w 320040"/>
                <a:gd name="connsiteY30" fmla="*/ 312153 h 485775"/>
                <a:gd name="connsiteX31" fmla="*/ 106357 w 320040"/>
                <a:gd name="connsiteY31" fmla="*/ 314782 h 485775"/>
                <a:gd name="connsiteX32" fmla="*/ 28976 w 320040"/>
                <a:gd name="connsiteY32" fmla="*/ 379305 h 485775"/>
                <a:gd name="connsiteX33" fmla="*/ 27204 w 320040"/>
                <a:gd name="connsiteY33" fmla="*/ 34233 h 485775"/>
                <a:gd name="connsiteX34" fmla="*/ 290380 w 320040"/>
                <a:gd name="connsiteY34" fmla="*/ 257461 h 485775"/>
                <a:gd name="connsiteX35" fmla="*/ 191282 w 320040"/>
                <a:gd name="connsiteY35" fmla="*/ 275177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0040" h="485775">
                  <a:moveTo>
                    <a:pt x="313297" y="246831"/>
                  </a:moveTo>
                  <a:lnTo>
                    <a:pt x="33548" y="9601"/>
                  </a:lnTo>
                  <a:cubicBezTo>
                    <a:pt x="28347" y="5201"/>
                    <a:pt x="23547" y="4286"/>
                    <a:pt x="20461" y="4286"/>
                  </a:cubicBezTo>
                  <a:cubicBezTo>
                    <a:pt x="16288" y="4286"/>
                    <a:pt x="12402" y="5886"/>
                    <a:pt x="9488" y="8801"/>
                  </a:cubicBezTo>
                  <a:cubicBezTo>
                    <a:pt x="7087" y="11201"/>
                    <a:pt x="4230" y="15659"/>
                    <a:pt x="4287" y="23260"/>
                  </a:cubicBezTo>
                  <a:lnTo>
                    <a:pt x="6173" y="389992"/>
                  </a:lnTo>
                  <a:cubicBezTo>
                    <a:pt x="6230" y="402965"/>
                    <a:pt x="14688" y="408851"/>
                    <a:pt x="22518" y="408851"/>
                  </a:cubicBezTo>
                  <a:cubicBezTo>
                    <a:pt x="25604" y="408851"/>
                    <a:pt x="30347" y="407937"/>
                    <a:pt x="35548" y="403593"/>
                  </a:cubicBezTo>
                  <a:lnTo>
                    <a:pt x="109615" y="341757"/>
                  </a:lnTo>
                  <a:lnTo>
                    <a:pt x="170137" y="471488"/>
                  </a:lnTo>
                  <a:cubicBezTo>
                    <a:pt x="174251" y="480289"/>
                    <a:pt x="183224" y="486004"/>
                    <a:pt x="192939" y="486004"/>
                  </a:cubicBezTo>
                  <a:cubicBezTo>
                    <a:pt x="196654" y="486004"/>
                    <a:pt x="200197" y="485204"/>
                    <a:pt x="203569" y="483660"/>
                  </a:cubicBezTo>
                  <a:lnTo>
                    <a:pt x="258205" y="458172"/>
                  </a:lnTo>
                  <a:cubicBezTo>
                    <a:pt x="264320" y="455314"/>
                    <a:pt x="268949" y="450285"/>
                    <a:pt x="271235" y="443941"/>
                  </a:cubicBezTo>
                  <a:cubicBezTo>
                    <a:pt x="273521" y="437598"/>
                    <a:pt x="273235" y="430797"/>
                    <a:pt x="270377" y="424682"/>
                  </a:cubicBezTo>
                  <a:lnTo>
                    <a:pt x="209855" y="294951"/>
                  </a:lnTo>
                  <a:lnTo>
                    <a:pt x="304839" y="277978"/>
                  </a:lnTo>
                  <a:cubicBezTo>
                    <a:pt x="316326" y="275920"/>
                    <a:pt x="319526" y="268491"/>
                    <a:pt x="320384" y="265405"/>
                  </a:cubicBezTo>
                  <a:cubicBezTo>
                    <a:pt x="321241" y="262376"/>
                    <a:pt x="322213" y="254375"/>
                    <a:pt x="313297" y="246831"/>
                  </a:cubicBezTo>
                  <a:close/>
                  <a:moveTo>
                    <a:pt x="191282" y="275177"/>
                  </a:moveTo>
                  <a:cubicBezTo>
                    <a:pt x="187796" y="275806"/>
                    <a:pt x="184767" y="278035"/>
                    <a:pt x="183167" y="281178"/>
                  </a:cubicBezTo>
                  <a:cubicBezTo>
                    <a:pt x="181509" y="284321"/>
                    <a:pt x="181452" y="288036"/>
                    <a:pt x="182938" y="291294"/>
                  </a:cubicBezTo>
                  <a:lnTo>
                    <a:pt x="249689" y="434512"/>
                  </a:lnTo>
                  <a:cubicBezTo>
                    <a:pt x="250032" y="435254"/>
                    <a:pt x="249918" y="435883"/>
                    <a:pt x="249746" y="436283"/>
                  </a:cubicBezTo>
                  <a:cubicBezTo>
                    <a:pt x="249575" y="436683"/>
                    <a:pt x="249289" y="437255"/>
                    <a:pt x="248546" y="437598"/>
                  </a:cubicBezTo>
                  <a:lnTo>
                    <a:pt x="193911" y="463087"/>
                  </a:lnTo>
                  <a:cubicBezTo>
                    <a:pt x="193568" y="463258"/>
                    <a:pt x="193282" y="463315"/>
                    <a:pt x="192939" y="463315"/>
                  </a:cubicBezTo>
                  <a:cubicBezTo>
                    <a:pt x="192196" y="463315"/>
                    <a:pt x="191282" y="462972"/>
                    <a:pt x="190825" y="462001"/>
                  </a:cubicBezTo>
                  <a:lnTo>
                    <a:pt x="124074" y="318783"/>
                  </a:lnTo>
                  <a:cubicBezTo>
                    <a:pt x="122588" y="315582"/>
                    <a:pt x="119673" y="313239"/>
                    <a:pt x="116187" y="312439"/>
                  </a:cubicBezTo>
                  <a:cubicBezTo>
                    <a:pt x="115387" y="312268"/>
                    <a:pt x="114529" y="312153"/>
                    <a:pt x="113672" y="312153"/>
                  </a:cubicBezTo>
                  <a:cubicBezTo>
                    <a:pt x="111043" y="312153"/>
                    <a:pt x="108414" y="313068"/>
                    <a:pt x="106357" y="314782"/>
                  </a:cubicBezTo>
                  <a:lnTo>
                    <a:pt x="28976" y="379305"/>
                  </a:lnTo>
                  <a:lnTo>
                    <a:pt x="27204" y="34233"/>
                  </a:lnTo>
                  <a:lnTo>
                    <a:pt x="290380" y="257461"/>
                  </a:lnTo>
                  <a:lnTo>
                    <a:pt x="191282" y="27517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52" name="Forma libre: forma 351">
              <a:extLst>
                <a:ext uri="{FF2B5EF4-FFF2-40B4-BE49-F238E27FC236}">
                  <a16:creationId xmlns:a16="http://schemas.microsoft.com/office/drawing/2014/main" id="{E42F65C8-7DFC-4F6A-8CA0-4A39E0BAC439}"/>
                </a:ext>
              </a:extLst>
            </p:cNvPr>
            <p:cNvSpPr/>
            <p:nvPr/>
          </p:nvSpPr>
          <p:spPr>
            <a:xfrm>
              <a:off x="4888249" y="536224"/>
              <a:ext cx="811530" cy="605790"/>
            </a:xfrm>
            <a:custGeom>
              <a:avLst/>
              <a:gdLst>
                <a:gd name="connsiteX0" fmla="*/ 35890 w 811530"/>
                <a:gd name="connsiteY0" fmla="*/ 575729 h 605790"/>
                <a:gd name="connsiteX1" fmla="*/ 308610 w 811530"/>
                <a:gd name="connsiteY1" fmla="*/ 575729 h 605790"/>
                <a:gd name="connsiteX2" fmla="*/ 355016 w 811530"/>
                <a:gd name="connsiteY2" fmla="*/ 585845 h 605790"/>
                <a:gd name="connsiteX3" fmla="*/ 391592 w 811530"/>
                <a:gd name="connsiteY3" fmla="*/ 602590 h 605790"/>
                <a:gd name="connsiteX4" fmla="*/ 408508 w 811530"/>
                <a:gd name="connsiteY4" fmla="*/ 605961 h 605790"/>
                <a:gd name="connsiteX5" fmla="*/ 425425 w 811530"/>
                <a:gd name="connsiteY5" fmla="*/ 602590 h 605790"/>
                <a:gd name="connsiteX6" fmla="*/ 462058 w 811530"/>
                <a:gd name="connsiteY6" fmla="*/ 585845 h 605790"/>
                <a:gd name="connsiteX7" fmla="*/ 508464 w 811530"/>
                <a:gd name="connsiteY7" fmla="*/ 575729 h 605790"/>
                <a:gd name="connsiteX8" fmla="*/ 548926 w 811530"/>
                <a:gd name="connsiteY8" fmla="*/ 575729 h 605790"/>
                <a:gd name="connsiteX9" fmla="*/ 560356 w 811530"/>
                <a:gd name="connsiteY9" fmla="*/ 564299 h 605790"/>
                <a:gd name="connsiteX10" fmla="*/ 548926 w 811530"/>
                <a:gd name="connsiteY10" fmla="*/ 552869 h 605790"/>
                <a:gd name="connsiteX11" fmla="*/ 508464 w 811530"/>
                <a:gd name="connsiteY11" fmla="*/ 552869 h 605790"/>
                <a:gd name="connsiteX12" fmla="*/ 452571 w 811530"/>
                <a:gd name="connsiteY12" fmla="*/ 565042 h 605790"/>
                <a:gd name="connsiteX13" fmla="*/ 419938 w 811530"/>
                <a:gd name="connsiteY13" fmla="*/ 579958 h 605790"/>
                <a:gd name="connsiteX14" fmla="*/ 419938 w 811530"/>
                <a:gd name="connsiteY14" fmla="*/ 55950 h 605790"/>
                <a:gd name="connsiteX15" fmla="*/ 425425 w 811530"/>
                <a:gd name="connsiteY15" fmla="*/ 54064 h 605790"/>
                <a:gd name="connsiteX16" fmla="*/ 462058 w 811530"/>
                <a:gd name="connsiteY16" fmla="*/ 37319 h 605790"/>
                <a:gd name="connsiteX17" fmla="*/ 508464 w 811530"/>
                <a:gd name="connsiteY17" fmla="*/ 27203 h 605790"/>
                <a:gd name="connsiteX18" fmla="*/ 781126 w 811530"/>
                <a:gd name="connsiteY18" fmla="*/ 27203 h 605790"/>
                <a:gd name="connsiteX19" fmla="*/ 789813 w 811530"/>
                <a:gd name="connsiteY19" fmla="*/ 35890 h 605790"/>
                <a:gd name="connsiteX20" fmla="*/ 789813 w 811530"/>
                <a:gd name="connsiteY20" fmla="*/ 544240 h 605790"/>
                <a:gd name="connsiteX21" fmla="*/ 781126 w 811530"/>
                <a:gd name="connsiteY21" fmla="*/ 552926 h 605790"/>
                <a:gd name="connsiteX22" fmla="*/ 761181 w 811530"/>
                <a:gd name="connsiteY22" fmla="*/ 552926 h 605790"/>
                <a:gd name="connsiteX23" fmla="*/ 749751 w 811530"/>
                <a:gd name="connsiteY23" fmla="*/ 564356 h 605790"/>
                <a:gd name="connsiteX24" fmla="*/ 761181 w 811530"/>
                <a:gd name="connsiteY24" fmla="*/ 575786 h 605790"/>
                <a:gd name="connsiteX25" fmla="*/ 781126 w 811530"/>
                <a:gd name="connsiteY25" fmla="*/ 575786 h 605790"/>
                <a:gd name="connsiteX26" fmla="*/ 812673 w 811530"/>
                <a:gd name="connsiteY26" fmla="*/ 544240 h 605790"/>
                <a:gd name="connsiteX27" fmla="*/ 812673 w 811530"/>
                <a:gd name="connsiteY27" fmla="*/ 35833 h 605790"/>
                <a:gd name="connsiteX28" fmla="*/ 781126 w 811530"/>
                <a:gd name="connsiteY28" fmla="*/ 4286 h 605790"/>
                <a:gd name="connsiteX29" fmla="*/ 508464 w 811530"/>
                <a:gd name="connsiteY29" fmla="*/ 4286 h 605790"/>
                <a:gd name="connsiteX30" fmla="*/ 452571 w 811530"/>
                <a:gd name="connsiteY30" fmla="*/ 16459 h 605790"/>
                <a:gd name="connsiteX31" fmla="*/ 415938 w 811530"/>
                <a:gd name="connsiteY31" fmla="*/ 33204 h 605790"/>
                <a:gd name="connsiteX32" fmla="*/ 401079 w 811530"/>
                <a:gd name="connsiteY32" fmla="*/ 33204 h 605790"/>
                <a:gd name="connsiteX33" fmla="*/ 364446 w 811530"/>
                <a:gd name="connsiteY33" fmla="*/ 16459 h 605790"/>
                <a:gd name="connsiteX34" fmla="*/ 308553 w 811530"/>
                <a:gd name="connsiteY34" fmla="*/ 4286 h 605790"/>
                <a:gd name="connsiteX35" fmla="*/ 35833 w 811530"/>
                <a:gd name="connsiteY35" fmla="*/ 4286 h 605790"/>
                <a:gd name="connsiteX36" fmla="*/ 4286 w 811530"/>
                <a:gd name="connsiteY36" fmla="*/ 35833 h 605790"/>
                <a:gd name="connsiteX37" fmla="*/ 4286 w 811530"/>
                <a:gd name="connsiteY37" fmla="*/ 544182 h 605790"/>
                <a:gd name="connsiteX38" fmla="*/ 35890 w 811530"/>
                <a:gd name="connsiteY38" fmla="*/ 575729 h 605790"/>
                <a:gd name="connsiteX39" fmla="*/ 27203 w 811530"/>
                <a:gd name="connsiteY39" fmla="*/ 35833 h 605790"/>
                <a:gd name="connsiteX40" fmla="*/ 35890 w 811530"/>
                <a:gd name="connsiteY40" fmla="*/ 27146 h 605790"/>
                <a:gd name="connsiteX41" fmla="*/ 308610 w 811530"/>
                <a:gd name="connsiteY41" fmla="*/ 27146 h 605790"/>
                <a:gd name="connsiteX42" fmla="*/ 355016 w 811530"/>
                <a:gd name="connsiteY42" fmla="*/ 37262 h 605790"/>
                <a:gd name="connsiteX43" fmla="*/ 391649 w 811530"/>
                <a:gd name="connsiteY43" fmla="*/ 54007 h 605790"/>
                <a:gd name="connsiteX44" fmla="*/ 397135 w 811530"/>
                <a:gd name="connsiteY44" fmla="*/ 55893 h 605790"/>
                <a:gd name="connsiteX45" fmla="*/ 397135 w 811530"/>
                <a:gd name="connsiteY45" fmla="*/ 579901 h 605790"/>
                <a:gd name="connsiteX46" fmla="*/ 364503 w 811530"/>
                <a:gd name="connsiteY46" fmla="*/ 564985 h 605790"/>
                <a:gd name="connsiteX47" fmla="*/ 308610 w 811530"/>
                <a:gd name="connsiteY47" fmla="*/ 552812 h 605790"/>
                <a:gd name="connsiteX48" fmla="*/ 35890 w 811530"/>
                <a:gd name="connsiteY48" fmla="*/ 552812 h 605790"/>
                <a:gd name="connsiteX49" fmla="*/ 27203 w 811530"/>
                <a:gd name="connsiteY49" fmla="*/ 544125 h 605790"/>
                <a:gd name="connsiteX50" fmla="*/ 27203 w 811530"/>
                <a:gd name="connsiteY50" fmla="*/ 35833 h 605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11530" h="605790">
                  <a:moveTo>
                    <a:pt x="35890" y="575729"/>
                  </a:moveTo>
                  <a:lnTo>
                    <a:pt x="308610" y="575729"/>
                  </a:lnTo>
                  <a:cubicBezTo>
                    <a:pt x="321754" y="575729"/>
                    <a:pt x="343014" y="580358"/>
                    <a:pt x="355016" y="585845"/>
                  </a:cubicBezTo>
                  <a:lnTo>
                    <a:pt x="391592" y="602590"/>
                  </a:lnTo>
                  <a:cubicBezTo>
                    <a:pt x="396507" y="604818"/>
                    <a:pt x="402507" y="605961"/>
                    <a:pt x="408508" y="605961"/>
                  </a:cubicBezTo>
                  <a:cubicBezTo>
                    <a:pt x="414509" y="605961"/>
                    <a:pt x="420510" y="604818"/>
                    <a:pt x="425425" y="602590"/>
                  </a:cubicBezTo>
                  <a:lnTo>
                    <a:pt x="462058" y="585845"/>
                  </a:lnTo>
                  <a:cubicBezTo>
                    <a:pt x="474059" y="580358"/>
                    <a:pt x="495319" y="575729"/>
                    <a:pt x="508464" y="575729"/>
                  </a:cubicBezTo>
                  <a:lnTo>
                    <a:pt x="548926" y="575729"/>
                  </a:lnTo>
                  <a:cubicBezTo>
                    <a:pt x="555212" y="575729"/>
                    <a:pt x="560356" y="570586"/>
                    <a:pt x="560356" y="564299"/>
                  </a:cubicBezTo>
                  <a:cubicBezTo>
                    <a:pt x="560356" y="558013"/>
                    <a:pt x="555212" y="552869"/>
                    <a:pt x="548926" y="552869"/>
                  </a:cubicBezTo>
                  <a:lnTo>
                    <a:pt x="508464" y="552869"/>
                  </a:lnTo>
                  <a:cubicBezTo>
                    <a:pt x="492062" y="552869"/>
                    <a:pt x="467487" y="558241"/>
                    <a:pt x="452571" y="565042"/>
                  </a:cubicBezTo>
                  <a:lnTo>
                    <a:pt x="419938" y="579958"/>
                  </a:lnTo>
                  <a:lnTo>
                    <a:pt x="419938" y="55950"/>
                  </a:lnTo>
                  <a:cubicBezTo>
                    <a:pt x="421881" y="55436"/>
                    <a:pt x="423710" y="54864"/>
                    <a:pt x="425425" y="54064"/>
                  </a:cubicBezTo>
                  <a:lnTo>
                    <a:pt x="462058" y="37319"/>
                  </a:lnTo>
                  <a:cubicBezTo>
                    <a:pt x="474059" y="31833"/>
                    <a:pt x="495319" y="27203"/>
                    <a:pt x="508464" y="27203"/>
                  </a:cubicBezTo>
                  <a:lnTo>
                    <a:pt x="781126" y="27203"/>
                  </a:lnTo>
                  <a:cubicBezTo>
                    <a:pt x="785927" y="27203"/>
                    <a:pt x="789813" y="31090"/>
                    <a:pt x="789813" y="35890"/>
                  </a:cubicBezTo>
                  <a:lnTo>
                    <a:pt x="789813" y="544240"/>
                  </a:lnTo>
                  <a:cubicBezTo>
                    <a:pt x="789813" y="549040"/>
                    <a:pt x="785927" y="552926"/>
                    <a:pt x="781126" y="552926"/>
                  </a:cubicBezTo>
                  <a:lnTo>
                    <a:pt x="761181" y="552926"/>
                  </a:lnTo>
                  <a:cubicBezTo>
                    <a:pt x="754895" y="552926"/>
                    <a:pt x="749751" y="558070"/>
                    <a:pt x="749751" y="564356"/>
                  </a:cubicBezTo>
                  <a:cubicBezTo>
                    <a:pt x="749751" y="570643"/>
                    <a:pt x="754895" y="575786"/>
                    <a:pt x="761181" y="575786"/>
                  </a:cubicBezTo>
                  <a:lnTo>
                    <a:pt x="781126" y="575786"/>
                  </a:lnTo>
                  <a:cubicBezTo>
                    <a:pt x="798500" y="575786"/>
                    <a:pt x="812673" y="561670"/>
                    <a:pt x="812673" y="544240"/>
                  </a:cubicBezTo>
                  <a:lnTo>
                    <a:pt x="812673" y="35833"/>
                  </a:lnTo>
                  <a:cubicBezTo>
                    <a:pt x="812673" y="18459"/>
                    <a:pt x="798557" y="4286"/>
                    <a:pt x="781126" y="4286"/>
                  </a:cubicBezTo>
                  <a:lnTo>
                    <a:pt x="508464" y="4286"/>
                  </a:lnTo>
                  <a:cubicBezTo>
                    <a:pt x="492062" y="4286"/>
                    <a:pt x="467487" y="9658"/>
                    <a:pt x="452571" y="16459"/>
                  </a:cubicBezTo>
                  <a:lnTo>
                    <a:pt x="415938" y="33204"/>
                  </a:lnTo>
                  <a:cubicBezTo>
                    <a:pt x="412280" y="34862"/>
                    <a:pt x="404794" y="34862"/>
                    <a:pt x="401079" y="33204"/>
                  </a:cubicBezTo>
                  <a:lnTo>
                    <a:pt x="364446" y="16459"/>
                  </a:lnTo>
                  <a:cubicBezTo>
                    <a:pt x="349472" y="9601"/>
                    <a:pt x="324955" y="4286"/>
                    <a:pt x="308553" y="4286"/>
                  </a:cubicBezTo>
                  <a:lnTo>
                    <a:pt x="35833" y="4286"/>
                  </a:lnTo>
                  <a:cubicBezTo>
                    <a:pt x="18460" y="4286"/>
                    <a:pt x="4286" y="18402"/>
                    <a:pt x="4286" y="35833"/>
                  </a:cubicBezTo>
                  <a:lnTo>
                    <a:pt x="4286" y="544182"/>
                  </a:lnTo>
                  <a:cubicBezTo>
                    <a:pt x="4343" y="561613"/>
                    <a:pt x="18517" y="575729"/>
                    <a:pt x="35890" y="575729"/>
                  </a:cubicBezTo>
                  <a:close/>
                  <a:moveTo>
                    <a:pt x="27203" y="35833"/>
                  </a:moveTo>
                  <a:cubicBezTo>
                    <a:pt x="27203" y="31032"/>
                    <a:pt x="31090" y="27146"/>
                    <a:pt x="35890" y="27146"/>
                  </a:cubicBezTo>
                  <a:lnTo>
                    <a:pt x="308610" y="27146"/>
                  </a:lnTo>
                  <a:cubicBezTo>
                    <a:pt x="321754" y="27146"/>
                    <a:pt x="343014" y="31775"/>
                    <a:pt x="355016" y="37262"/>
                  </a:cubicBezTo>
                  <a:lnTo>
                    <a:pt x="391649" y="54007"/>
                  </a:lnTo>
                  <a:cubicBezTo>
                    <a:pt x="393364" y="54807"/>
                    <a:pt x="395250" y="55378"/>
                    <a:pt x="397135" y="55893"/>
                  </a:cubicBezTo>
                  <a:lnTo>
                    <a:pt x="397135" y="579901"/>
                  </a:lnTo>
                  <a:lnTo>
                    <a:pt x="364503" y="564985"/>
                  </a:lnTo>
                  <a:cubicBezTo>
                    <a:pt x="349530" y="558127"/>
                    <a:pt x="325012" y="552812"/>
                    <a:pt x="308610" y="552812"/>
                  </a:cubicBezTo>
                  <a:lnTo>
                    <a:pt x="35890" y="552812"/>
                  </a:lnTo>
                  <a:cubicBezTo>
                    <a:pt x="31090" y="552812"/>
                    <a:pt x="27203" y="548926"/>
                    <a:pt x="27203" y="544125"/>
                  </a:cubicBezTo>
                  <a:lnTo>
                    <a:pt x="27203" y="3583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53" name="Forma libre: forma 352">
              <a:extLst>
                <a:ext uri="{FF2B5EF4-FFF2-40B4-BE49-F238E27FC236}">
                  <a16:creationId xmlns:a16="http://schemas.microsoft.com/office/drawing/2014/main" id="{98003AC6-E720-4867-A6FA-F785E5E555DD}"/>
                </a:ext>
              </a:extLst>
            </p:cNvPr>
            <p:cNvSpPr/>
            <p:nvPr/>
          </p:nvSpPr>
          <p:spPr>
            <a:xfrm>
              <a:off x="5714638" y="593889"/>
              <a:ext cx="85725" cy="600075"/>
            </a:xfrm>
            <a:custGeom>
              <a:avLst/>
              <a:gdLst>
                <a:gd name="connsiteX0" fmla="*/ 38462 w 85725"/>
                <a:gd name="connsiteY0" fmla="*/ 4286 h 600075"/>
                <a:gd name="connsiteX1" fmla="*/ 15716 w 85725"/>
                <a:gd name="connsiteY1" fmla="*/ 4286 h 600075"/>
                <a:gd name="connsiteX2" fmla="*/ 4286 w 85725"/>
                <a:gd name="connsiteY2" fmla="*/ 15716 h 600075"/>
                <a:gd name="connsiteX3" fmla="*/ 15716 w 85725"/>
                <a:gd name="connsiteY3" fmla="*/ 27146 h 600075"/>
                <a:gd name="connsiteX4" fmla="*/ 38462 w 85725"/>
                <a:gd name="connsiteY4" fmla="*/ 27146 h 600075"/>
                <a:gd name="connsiteX5" fmla="*/ 60522 w 85725"/>
                <a:gd name="connsiteY5" fmla="*/ 49206 h 600075"/>
                <a:gd name="connsiteX6" fmla="*/ 60522 w 85725"/>
                <a:gd name="connsiteY6" fmla="*/ 551212 h 600075"/>
                <a:gd name="connsiteX7" fmla="*/ 38462 w 85725"/>
                <a:gd name="connsiteY7" fmla="*/ 573272 h 600075"/>
                <a:gd name="connsiteX8" fmla="*/ 35719 w 85725"/>
                <a:gd name="connsiteY8" fmla="*/ 573272 h 600075"/>
                <a:gd name="connsiteX9" fmla="*/ 24289 w 85725"/>
                <a:gd name="connsiteY9" fmla="*/ 584702 h 600075"/>
                <a:gd name="connsiteX10" fmla="*/ 35719 w 85725"/>
                <a:gd name="connsiteY10" fmla="*/ 596132 h 600075"/>
                <a:gd name="connsiteX11" fmla="*/ 38462 w 85725"/>
                <a:gd name="connsiteY11" fmla="*/ 596132 h 600075"/>
                <a:gd name="connsiteX12" fmla="*/ 83382 w 85725"/>
                <a:gd name="connsiteY12" fmla="*/ 551212 h 600075"/>
                <a:gd name="connsiteX13" fmla="*/ 83382 w 85725"/>
                <a:gd name="connsiteY13" fmla="*/ 49206 h 600075"/>
                <a:gd name="connsiteX14" fmla="*/ 38462 w 85725"/>
                <a:gd name="connsiteY14" fmla="*/ 4286 h 60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5725" h="600075">
                  <a:moveTo>
                    <a:pt x="38462" y="4286"/>
                  </a:moveTo>
                  <a:lnTo>
                    <a:pt x="15716" y="4286"/>
                  </a:lnTo>
                  <a:cubicBezTo>
                    <a:pt x="9430" y="4286"/>
                    <a:pt x="4286" y="9430"/>
                    <a:pt x="4286" y="15716"/>
                  </a:cubicBezTo>
                  <a:cubicBezTo>
                    <a:pt x="4286" y="22003"/>
                    <a:pt x="9430" y="27146"/>
                    <a:pt x="15716" y="27146"/>
                  </a:cubicBezTo>
                  <a:lnTo>
                    <a:pt x="38462" y="27146"/>
                  </a:lnTo>
                  <a:cubicBezTo>
                    <a:pt x="50635" y="27146"/>
                    <a:pt x="60522" y="37033"/>
                    <a:pt x="60522" y="49206"/>
                  </a:cubicBezTo>
                  <a:lnTo>
                    <a:pt x="60522" y="551212"/>
                  </a:lnTo>
                  <a:cubicBezTo>
                    <a:pt x="60522" y="563385"/>
                    <a:pt x="50635" y="573272"/>
                    <a:pt x="38462" y="573272"/>
                  </a:cubicBezTo>
                  <a:lnTo>
                    <a:pt x="35719" y="573272"/>
                  </a:lnTo>
                  <a:cubicBezTo>
                    <a:pt x="29432" y="573272"/>
                    <a:pt x="24289" y="578415"/>
                    <a:pt x="24289" y="584702"/>
                  </a:cubicBezTo>
                  <a:cubicBezTo>
                    <a:pt x="24289" y="590988"/>
                    <a:pt x="29432" y="596132"/>
                    <a:pt x="35719" y="596132"/>
                  </a:cubicBezTo>
                  <a:lnTo>
                    <a:pt x="38462" y="596132"/>
                  </a:lnTo>
                  <a:cubicBezTo>
                    <a:pt x="63208" y="596132"/>
                    <a:pt x="83382" y="575958"/>
                    <a:pt x="83382" y="551212"/>
                  </a:cubicBezTo>
                  <a:lnTo>
                    <a:pt x="83382" y="49206"/>
                  </a:lnTo>
                  <a:cubicBezTo>
                    <a:pt x="83382" y="24460"/>
                    <a:pt x="63265" y="4286"/>
                    <a:pt x="38462" y="42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54" name="Forma libre: forma 353">
              <a:extLst>
                <a:ext uri="{FF2B5EF4-FFF2-40B4-BE49-F238E27FC236}">
                  <a16:creationId xmlns:a16="http://schemas.microsoft.com/office/drawing/2014/main" id="{8747405A-0BB7-41DA-A17C-896FEBDBF748}"/>
                </a:ext>
              </a:extLst>
            </p:cNvPr>
            <p:cNvSpPr/>
            <p:nvPr/>
          </p:nvSpPr>
          <p:spPr>
            <a:xfrm>
              <a:off x="4791208" y="593889"/>
              <a:ext cx="651510" cy="640080"/>
            </a:xfrm>
            <a:custGeom>
              <a:avLst/>
              <a:gdLst>
                <a:gd name="connsiteX0" fmla="*/ 424853 w 651510"/>
                <a:gd name="connsiteY0" fmla="*/ 596189 h 640080"/>
                <a:gd name="connsiteX1" fmla="*/ 430339 w 651510"/>
                <a:gd name="connsiteY1" fmla="*/ 601790 h 640080"/>
                <a:gd name="connsiteX2" fmla="*/ 484975 w 651510"/>
                <a:gd name="connsiteY2" fmla="*/ 639737 h 640080"/>
                <a:gd name="connsiteX3" fmla="*/ 526123 w 651510"/>
                <a:gd name="connsiteY3" fmla="*/ 639737 h 640080"/>
                <a:gd name="connsiteX4" fmla="*/ 580758 w 651510"/>
                <a:gd name="connsiteY4" fmla="*/ 601732 h 640080"/>
                <a:gd name="connsiteX5" fmla="*/ 586245 w 651510"/>
                <a:gd name="connsiteY5" fmla="*/ 596132 h 640080"/>
                <a:gd name="connsiteX6" fmla="*/ 638994 w 651510"/>
                <a:gd name="connsiteY6" fmla="*/ 596132 h 640080"/>
                <a:gd name="connsiteX7" fmla="*/ 650424 w 651510"/>
                <a:gd name="connsiteY7" fmla="*/ 584702 h 640080"/>
                <a:gd name="connsiteX8" fmla="*/ 638994 w 651510"/>
                <a:gd name="connsiteY8" fmla="*/ 573272 h 640080"/>
                <a:gd name="connsiteX9" fmla="*/ 586245 w 651510"/>
                <a:gd name="connsiteY9" fmla="*/ 573272 h 640080"/>
                <a:gd name="connsiteX10" fmla="*/ 559327 w 651510"/>
                <a:gd name="connsiteY10" fmla="*/ 593789 h 640080"/>
                <a:gd name="connsiteX11" fmla="*/ 526123 w 651510"/>
                <a:gd name="connsiteY11" fmla="*/ 616877 h 640080"/>
                <a:gd name="connsiteX12" fmla="*/ 484975 w 651510"/>
                <a:gd name="connsiteY12" fmla="*/ 616877 h 640080"/>
                <a:gd name="connsiteX13" fmla="*/ 451771 w 651510"/>
                <a:gd name="connsiteY13" fmla="*/ 593789 h 640080"/>
                <a:gd name="connsiteX14" fmla="*/ 424853 w 651510"/>
                <a:gd name="connsiteY14" fmla="*/ 573272 h 640080"/>
                <a:gd name="connsiteX15" fmla="*/ 49206 w 651510"/>
                <a:gd name="connsiteY15" fmla="*/ 573272 h 640080"/>
                <a:gd name="connsiteX16" fmla="*/ 27146 w 651510"/>
                <a:gd name="connsiteY16" fmla="*/ 551212 h 640080"/>
                <a:gd name="connsiteX17" fmla="*/ 27146 w 651510"/>
                <a:gd name="connsiteY17" fmla="*/ 49206 h 640080"/>
                <a:gd name="connsiteX18" fmla="*/ 49206 w 651510"/>
                <a:gd name="connsiteY18" fmla="*/ 27146 h 640080"/>
                <a:gd name="connsiteX19" fmla="*/ 71037 w 651510"/>
                <a:gd name="connsiteY19" fmla="*/ 27146 h 640080"/>
                <a:gd name="connsiteX20" fmla="*/ 82467 w 651510"/>
                <a:gd name="connsiteY20" fmla="*/ 15716 h 640080"/>
                <a:gd name="connsiteX21" fmla="*/ 71037 w 651510"/>
                <a:gd name="connsiteY21" fmla="*/ 4286 h 640080"/>
                <a:gd name="connsiteX22" fmla="*/ 49206 w 651510"/>
                <a:gd name="connsiteY22" fmla="*/ 4286 h 640080"/>
                <a:gd name="connsiteX23" fmla="*/ 4286 w 651510"/>
                <a:gd name="connsiteY23" fmla="*/ 49206 h 640080"/>
                <a:gd name="connsiteX24" fmla="*/ 4286 w 651510"/>
                <a:gd name="connsiteY24" fmla="*/ 551212 h 640080"/>
                <a:gd name="connsiteX25" fmla="*/ 49206 w 651510"/>
                <a:gd name="connsiteY25" fmla="*/ 596132 h 640080"/>
                <a:gd name="connsiteX26" fmla="*/ 424853 w 651510"/>
                <a:gd name="connsiteY26" fmla="*/ 596132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51510" h="640080">
                  <a:moveTo>
                    <a:pt x="424853" y="596189"/>
                  </a:moveTo>
                  <a:cubicBezTo>
                    <a:pt x="426453" y="596189"/>
                    <a:pt x="429140" y="598475"/>
                    <a:pt x="430339" y="601790"/>
                  </a:cubicBezTo>
                  <a:cubicBezTo>
                    <a:pt x="438798" y="624478"/>
                    <a:pt x="460743" y="639737"/>
                    <a:pt x="484975" y="639737"/>
                  </a:cubicBezTo>
                  <a:lnTo>
                    <a:pt x="526123" y="639737"/>
                  </a:lnTo>
                  <a:cubicBezTo>
                    <a:pt x="550354" y="639737"/>
                    <a:pt x="572300" y="624478"/>
                    <a:pt x="580758" y="601732"/>
                  </a:cubicBezTo>
                  <a:cubicBezTo>
                    <a:pt x="581959" y="598418"/>
                    <a:pt x="584644" y="596132"/>
                    <a:pt x="586245" y="596132"/>
                  </a:cubicBezTo>
                  <a:lnTo>
                    <a:pt x="638994" y="596132"/>
                  </a:lnTo>
                  <a:cubicBezTo>
                    <a:pt x="645281" y="596132"/>
                    <a:pt x="650424" y="590988"/>
                    <a:pt x="650424" y="584702"/>
                  </a:cubicBezTo>
                  <a:cubicBezTo>
                    <a:pt x="650424" y="578415"/>
                    <a:pt x="645281" y="573272"/>
                    <a:pt x="638994" y="573272"/>
                  </a:cubicBezTo>
                  <a:lnTo>
                    <a:pt x="586245" y="573272"/>
                  </a:lnTo>
                  <a:cubicBezTo>
                    <a:pt x="574700" y="573272"/>
                    <a:pt x="563842" y="581501"/>
                    <a:pt x="559327" y="593789"/>
                  </a:cubicBezTo>
                  <a:cubicBezTo>
                    <a:pt x="554183" y="607619"/>
                    <a:pt x="540868" y="616877"/>
                    <a:pt x="526123" y="616877"/>
                  </a:cubicBezTo>
                  <a:lnTo>
                    <a:pt x="484975" y="616877"/>
                  </a:lnTo>
                  <a:cubicBezTo>
                    <a:pt x="470230" y="616877"/>
                    <a:pt x="456914" y="607619"/>
                    <a:pt x="451771" y="593789"/>
                  </a:cubicBezTo>
                  <a:cubicBezTo>
                    <a:pt x="447199" y="581501"/>
                    <a:pt x="436397" y="573272"/>
                    <a:pt x="424853" y="573272"/>
                  </a:cubicBezTo>
                  <a:lnTo>
                    <a:pt x="49206" y="573272"/>
                  </a:lnTo>
                  <a:cubicBezTo>
                    <a:pt x="37033" y="573272"/>
                    <a:pt x="27146" y="563385"/>
                    <a:pt x="27146" y="551212"/>
                  </a:cubicBezTo>
                  <a:lnTo>
                    <a:pt x="27146" y="49206"/>
                  </a:lnTo>
                  <a:cubicBezTo>
                    <a:pt x="27146" y="37033"/>
                    <a:pt x="37033" y="27146"/>
                    <a:pt x="49206" y="27146"/>
                  </a:cubicBezTo>
                  <a:lnTo>
                    <a:pt x="71037" y="27146"/>
                  </a:lnTo>
                  <a:cubicBezTo>
                    <a:pt x="77324" y="27146"/>
                    <a:pt x="82467" y="22003"/>
                    <a:pt x="82467" y="15716"/>
                  </a:cubicBezTo>
                  <a:cubicBezTo>
                    <a:pt x="82467" y="9430"/>
                    <a:pt x="77324" y="4286"/>
                    <a:pt x="71037" y="4286"/>
                  </a:cubicBezTo>
                  <a:lnTo>
                    <a:pt x="49206" y="4286"/>
                  </a:lnTo>
                  <a:cubicBezTo>
                    <a:pt x="24460" y="4286"/>
                    <a:pt x="4286" y="24460"/>
                    <a:pt x="4286" y="49206"/>
                  </a:cubicBezTo>
                  <a:lnTo>
                    <a:pt x="4286" y="551212"/>
                  </a:lnTo>
                  <a:cubicBezTo>
                    <a:pt x="4286" y="575958"/>
                    <a:pt x="24460" y="596132"/>
                    <a:pt x="49206" y="596132"/>
                  </a:cubicBezTo>
                  <a:lnTo>
                    <a:pt x="424853" y="59613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55" name="Forma libre: forma 354">
              <a:extLst>
                <a:ext uri="{FF2B5EF4-FFF2-40B4-BE49-F238E27FC236}">
                  <a16:creationId xmlns:a16="http://schemas.microsoft.com/office/drawing/2014/main" id="{DCA0FDF5-135A-4601-B723-98DF5C3AE332}"/>
                </a:ext>
              </a:extLst>
            </p:cNvPr>
            <p:cNvSpPr/>
            <p:nvPr/>
          </p:nvSpPr>
          <p:spPr>
            <a:xfrm>
              <a:off x="4993348" y="668069"/>
              <a:ext cx="217170" cy="28575"/>
            </a:xfrm>
            <a:custGeom>
              <a:avLst/>
              <a:gdLst>
                <a:gd name="connsiteX0" fmla="*/ 15716 w 217170"/>
                <a:gd name="connsiteY0" fmla="*/ 27146 h 28575"/>
                <a:gd name="connsiteX1" fmla="*/ 204311 w 217170"/>
                <a:gd name="connsiteY1" fmla="*/ 27146 h 28575"/>
                <a:gd name="connsiteX2" fmla="*/ 215741 w 217170"/>
                <a:gd name="connsiteY2" fmla="*/ 15716 h 28575"/>
                <a:gd name="connsiteX3" fmla="*/ 204311 w 217170"/>
                <a:gd name="connsiteY3" fmla="*/ 4286 h 28575"/>
                <a:gd name="connsiteX4" fmla="*/ 15716 w 217170"/>
                <a:gd name="connsiteY4" fmla="*/ 4286 h 28575"/>
                <a:gd name="connsiteX5" fmla="*/ 4286 w 217170"/>
                <a:gd name="connsiteY5" fmla="*/ 15716 h 28575"/>
                <a:gd name="connsiteX6" fmla="*/ 15716 w 217170"/>
                <a:gd name="connsiteY6" fmla="*/ 27146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70" h="28575">
                  <a:moveTo>
                    <a:pt x="15716" y="27146"/>
                  </a:moveTo>
                  <a:lnTo>
                    <a:pt x="204311" y="27146"/>
                  </a:lnTo>
                  <a:cubicBezTo>
                    <a:pt x="210598" y="27146"/>
                    <a:pt x="215741" y="22003"/>
                    <a:pt x="215741" y="15716"/>
                  </a:cubicBezTo>
                  <a:cubicBezTo>
                    <a:pt x="215741" y="9430"/>
                    <a:pt x="210598" y="4286"/>
                    <a:pt x="204311" y="4286"/>
                  </a:cubicBezTo>
                  <a:lnTo>
                    <a:pt x="15716" y="4286"/>
                  </a:lnTo>
                  <a:cubicBezTo>
                    <a:pt x="9430" y="4286"/>
                    <a:pt x="4286" y="9430"/>
                    <a:pt x="4286" y="15716"/>
                  </a:cubicBezTo>
                  <a:cubicBezTo>
                    <a:pt x="4286" y="22003"/>
                    <a:pt x="9373" y="27146"/>
                    <a:pt x="15716" y="271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56" name="Forma libre: forma 355">
              <a:extLst>
                <a:ext uri="{FF2B5EF4-FFF2-40B4-BE49-F238E27FC236}">
                  <a16:creationId xmlns:a16="http://schemas.microsoft.com/office/drawing/2014/main" id="{F579B721-F7B6-4EE8-BE4D-16F802EA3A0D}"/>
                </a:ext>
              </a:extLst>
            </p:cNvPr>
            <p:cNvSpPr/>
            <p:nvPr/>
          </p:nvSpPr>
          <p:spPr>
            <a:xfrm>
              <a:off x="4993348" y="785055"/>
              <a:ext cx="217170" cy="28575"/>
            </a:xfrm>
            <a:custGeom>
              <a:avLst/>
              <a:gdLst>
                <a:gd name="connsiteX0" fmla="*/ 15716 w 217170"/>
                <a:gd name="connsiteY0" fmla="*/ 27146 h 28575"/>
                <a:gd name="connsiteX1" fmla="*/ 204311 w 217170"/>
                <a:gd name="connsiteY1" fmla="*/ 27146 h 28575"/>
                <a:gd name="connsiteX2" fmla="*/ 215741 w 217170"/>
                <a:gd name="connsiteY2" fmla="*/ 15716 h 28575"/>
                <a:gd name="connsiteX3" fmla="*/ 204311 w 217170"/>
                <a:gd name="connsiteY3" fmla="*/ 4286 h 28575"/>
                <a:gd name="connsiteX4" fmla="*/ 15716 w 217170"/>
                <a:gd name="connsiteY4" fmla="*/ 4286 h 28575"/>
                <a:gd name="connsiteX5" fmla="*/ 4286 w 217170"/>
                <a:gd name="connsiteY5" fmla="*/ 15716 h 28575"/>
                <a:gd name="connsiteX6" fmla="*/ 15716 w 217170"/>
                <a:gd name="connsiteY6" fmla="*/ 27146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70" h="28575">
                  <a:moveTo>
                    <a:pt x="15716" y="27146"/>
                  </a:moveTo>
                  <a:lnTo>
                    <a:pt x="204311" y="27146"/>
                  </a:lnTo>
                  <a:cubicBezTo>
                    <a:pt x="210598" y="27146"/>
                    <a:pt x="215741" y="22003"/>
                    <a:pt x="215741" y="15716"/>
                  </a:cubicBezTo>
                  <a:cubicBezTo>
                    <a:pt x="215741" y="9430"/>
                    <a:pt x="210598" y="4286"/>
                    <a:pt x="204311" y="4286"/>
                  </a:cubicBezTo>
                  <a:lnTo>
                    <a:pt x="15716" y="4286"/>
                  </a:lnTo>
                  <a:cubicBezTo>
                    <a:pt x="9430" y="4286"/>
                    <a:pt x="4286" y="9430"/>
                    <a:pt x="4286" y="15716"/>
                  </a:cubicBezTo>
                  <a:cubicBezTo>
                    <a:pt x="4286" y="22003"/>
                    <a:pt x="9373" y="27146"/>
                    <a:pt x="15716" y="271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57" name="Forma libre: forma 356">
              <a:extLst>
                <a:ext uri="{FF2B5EF4-FFF2-40B4-BE49-F238E27FC236}">
                  <a16:creationId xmlns:a16="http://schemas.microsoft.com/office/drawing/2014/main" id="{FD01A33E-19D6-40B4-B69C-61B4A19017C5}"/>
                </a:ext>
              </a:extLst>
            </p:cNvPr>
            <p:cNvSpPr/>
            <p:nvPr/>
          </p:nvSpPr>
          <p:spPr>
            <a:xfrm>
              <a:off x="4993348" y="902041"/>
              <a:ext cx="217170" cy="28575"/>
            </a:xfrm>
            <a:custGeom>
              <a:avLst/>
              <a:gdLst>
                <a:gd name="connsiteX0" fmla="*/ 15716 w 217170"/>
                <a:gd name="connsiteY0" fmla="*/ 27146 h 28575"/>
                <a:gd name="connsiteX1" fmla="*/ 204311 w 217170"/>
                <a:gd name="connsiteY1" fmla="*/ 27146 h 28575"/>
                <a:gd name="connsiteX2" fmla="*/ 215741 w 217170"/>
                <a:gd name="connsiteY2" fmla="*/ 15716 h 28575"/>
                <a:gd name="connsiteX3" fmla="*/ 204311 w 217170"/>
                <a:gd name="connsiteY3" fmla="*/ 4286 h 28575"/>
                <a:gd name="connsiteX4" fmla="*/ 15716 w 217170"/>
                <a:gd name="connsiteY4" fmla="*/ 4286 h 28575"/>
                <a:gd name="connsiteX5" fmla="*/ 4286 w 217170"/>
                <a:gd name="connsiteY5" fmla="*/ 15716 h 28575"/>
                <a:gd name="connsiteX6" fmla="*/ 15716 w 217170"/>
                <a:gd name="connsiteY6" fmla="*/ 27146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70" h="28575">
                  <a:moveTo>
                    <a:pt x="15716" y="27146"/>
                  </a:moveTo>
                  <a:lnTo>
                    <a:pt x="204311" y="27146"/>
                  </a:lnTo>
                  <a:cubicBezTo>
                    <a:pt x="210598" y="27146"/>
                    <a:pt x="215741" y="22003"/>
                    <a:pt x="215741" y="15716"/>
                  </a:cubicBezTo>
                  <a:cubicBezTo>
                    <a:pt x="215741" y="9430"/>
                    <a:pt x="210598" y="4286"/>
                    <a:pt x="204311" y="4286"/>
                  </a:cubicBezTo>
                  <a:lnTo>
                    <a:pt x="15716" y="4286"/>
                  </a:lnTo>
                  <a:cubicBezTo>
                    <a:pt x="9430" y="4286"/>
                    <a:pt x="4286" y="9430"/>
                    <a:pt x="4286" y="15716"/>
                  </a:cubicBezTo>
                  <a:cubicBezTo>
                    <a:pt x="4286" y="22060"/>
                    <a:pt x="9373" y="27146"/>
                    <a:pt x="15716" y="271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58" name="Forma libre: forma 357">
              <a:extLst>
                <a:ext uri="{FF2B5EF4-FFF2-40B4-BE49-F238E27FC236}">
                  <a16:creationId xmlns:a16="http://schemas.microsoft.com/office/drawing/2014/main" id="{0755E794-DA70-4D1C-AE30-D815C16D4FD4}"/>
                </a:ext>
              </a:extLst>
            </p:cNvPr>
            <p:cNvSpPr/>
            <p:nvPr/>
          </p:nvSpPr>
          <p:spPr>
            <a:xfrm>
              <a:off x="5380139" y="668069"/>
              <a:ext cx="217170" cy="28575"/>
            </a:xfrm>
            <a:custGeom>
              <a:avLst/>
              <a:gdLst>
                <a:gd name="connsiteX0" fmla="*/ 204311 w 217170"/>
                <a:gd name="connsiteY0" fmla="*/ 4286 h 28575"/>
                <a:gd name="connsiteX1" fmla="*/ 15716 w 217170"/>
                <a:gd name="connsiteY1" fmla="*/ 4286 h 28575"/>
                <a:gd name="connsiteX2" fmla="*/ 4286 w 217170"/>
                <a:gd name="connsiteY2" fmla="*/ 15716 h 28575"/>
                <a:gd name="connsiteX3" fmla="*/ 15716 w 217170"/>
                <a:gd name="connsiteY3" fmla="*/ 27146 h 28575"/>
                <a:gd name="connsiteX4" fmla="*/ 204311 w 217170"/>
                <a:gd name="connsiteY4" fmla="*/ 27146 h 28575"/>
                <a:gd name="connsiteX5" fmla="*/ 215741 w 217170"/>
                <a:gd name="connsiteY5" fmla="*/ 15716 h 28575"/>
                <a:gd name="connsiteX6" fmla="*/ 204311 w 217170"/>
                <a:gd name="connsiteY6" fmla="*/ 4286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70" h="28575">
                  <a:moveTo>
                    <a:pt x="204311" y="4286"/>
                  </a:moveTo>
                  <a:lnTo>
                    <a:pt x="15716" y="4286"/>
                  </a:lnTo>
                  <a:cubicBezTo>
                    <a:pt x="9430" y="4286"/>
                    <a:pt x="4286" y="9430"/>
                    <a:pt x="4286" y="15716"/>
                  </a:cubicBezTo>
                  <a:cubicBezTo>
                    <a:pt x="4286" y="22003"/>
                    <a:pt x="9430" y="27146"/>
                    <a:pt x="15716" y="27146"/>
                  </a:cubicBezTo>
                  <a:lnTo>
                    <a:pt x="204311" y="27146"/>
                  </a:lnTo>
                  <a:cubicBezTo>
                    <a:pt x="210598" y="27146"/>
                    <a:pt x="215741" y="22003"/>
                    <a:pt x="215741" y="15716"/>
                  </a:cubicBezTo>
                  <a:cubicBezTo>
                    <a:pt x="215741" y="9430"/>
                    <a:pt x="210655" y="4286"/>
                    <a:pt x="204311" y="42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59" name="Forma libre: forma 358">
              <a:extLst>
                <a:ext uri="{FF2B5EF4-FFF2-40B4-BE49-F238E27FC236}">
                  <a16:creationId xmlns:a16="http://schemas.microsoft.com/office/drawing/2014/main" id="{7D9ACC27-08FC-4896-AA52-D419CC16E2C9}"/>
                </a:ext>
              </a:extLst>
            </p:cNvPr>
            <p:cNvSpPr/>
            <p:nvPr/>
          </p:nvSpPr>
          <p:spPr>
            <a:xfrm>
              <a:off x="5380139" y="785055"/>
              <a:ext cx="217170" cy="28575"/>
            </a:xfrm>
            <a:custGeom>
              <a:avLst/>
              <a:gdLst>
                <a:gd name="connsiteX0" fmla="*/ 204311 w 217170"/>
                <a:gd name="connsiteY0" fmla="*/ 4286 h 28575"/>
                <a:gd name="connsiteX1" fmla="*/ 15716 w 217170"/>
                <a:gd name="connsiteY1" fmla="*/ 4286 h 28575"/>
                <a:gd name="connsiteX2" fmla="*/ 4286 w 217170"/>
                <a:gd name="connsiteY2" fmla="*/ 15716 h 28575"/>
                <a:gd name="connsiteX3" fmla="*/ 15716 w 217170"/>
                <a:gd name="connsiteY3" fmla="*/ 27146 h 28575"/>
                <a:gd name="connsiteX4" fmla="*/ 204311 w 217170"/>
                <a:gd name="connsiteY4" fmla="*/ 27146 h 28575"/>
                <a:gd name="connsiteX5" fmla="*/ 215741 w 217170"/>
                <a:gd name="connsiteY5" fmla="*/ 15716 h 28575"/>
                <a:gd name="connsiteX6" fmla="*/ 204311 w 217170"/>
                <a:gd name="connsiteY6" fmla="*/ 4286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70" h="28575">
                  <a:moveTo>
                    <a:pt x="204311" y="4286"/>
                  </a:moveTo>
                  <a:lnTo>
                    <a:pt x="15716" y="4286"/>
                  </a:lnTo>
                  <a:cubicBezTo>
                    <a:pt x="9430" y="4286"/>
                    <a:pt x="4286" y="9430"/>
                    <a:pt x="4286" y="15716"/>
                  </a:cubicBezTo>
                  <a:cubicBezTo>
                    <a:pt x="4286" y="22003"/>
                    <a:pt x="9430" y="27146"/>
                    <a:pt x="15716" y="27146"/>
                  </a:cubicBezTo>
                  <a:lnTo>
                    <a:pt x="204311" y="27146"/>
                  </a:lnTo>
                  <a:cubicBezTo>
                    <a:pt x="210598" y="27146"/>
                    <a:pt x="215741" y="22003"/>
                    <a:pt x="215741" y="15716"/>
                  </a:cubicBezTo>
                  <a:cubicBezTo>
                    <a:pt x="215741" y="9430"/>
                    <a:pt x="210655" y="4286"/>
                    <a:pt x="204311" y="42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60" name="Forma libre: forma 359">
              <a:extLst>
                <a:ext uri="{FF2B5EF4-FFF2-40B4-BE49-F238E27FC236}">
                  <a16:creationId xmlns:a16="http://schemas.microsoft.com/office/drawing/2014/main" id="{C9CA2720-0176-4695-8775-F06F73ACBE02}"/>
                </a:ext>
              </a:extLst>
            </p:cNvPr>
            <p:cNvSpPr/>
            <p:nvPr/>
          </p:nvSpPr>
          <p:spPr>
            <a:xfrm>
              <a:off x="5380139" y="902041"/>
              <a:ext cx="217170" cy="28575"/>
            </a:xfrm>
            <a:custGeom>
              <a:avLst/>
              <a:gdLst>
                <a:gd name="connsiteX0" fmla="*/ 204311 w 217170"/>
                <a:gd name="connsiteY0" fmla="*/ 4286 h 28575"/>
                <a:gd name="connsiteX1" fmla="*/ 15716 w 217170"/>
                <a:gd name="connsiteY1" fmla="*/ 4286 h 28575"/>
                <a:gd name="connsiteX2" fmla="*/ 4286 w 217170"/>
                <a:gd name="connsiteY2" fmla="*/ 15716 h 28575"/>
                <a:gd name="connsiteX3" fmla="*/ 15716 w 217170"/>
                <a:gd name="connsiteY3" fmla="*/ 27146 h 28575"/>
                <a:gd name="connsiteX4" fmla="*/ 204311 w 217170"/>
                <a:gd name="connsiteY4" fmla="*/ 27146 h 28575"/>
                <a:gd name="connsiteX5" fmla="*/ 215741 w 217170"/>
                <a:gd name="connsiteY5" fmla="*/ 15716 h 28575"/>
                <a:gd name="connsiteX6" fmla="*/ 204311 w 217170"/>
                <a:gd name="connsiteY6" fmla="*/ 4286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170" h="28575">
                  <a:moveTo>
                    <a:pt x="204311" y="4286"/>
                  </a:moveTo>
                  <a:lnTo>
                    <a:pt x="15716" y="4286"/>
                  </a:lnTo>
                  <a:cubicBezTo>
                    <a:pt x="9430" y="4286"/>
                    <a:pt x="4286" y="9430"/>
                    <a:pt x="4286" y="15716"/>
                  </a:cubicBezTo>
                  <a:cubicBezTo>
                    <a:pt x="4286" y="22003"/>
                    <a:pt x="9430" y="27146"/>
                    <a:pt x="15716" y="27146"/>
                  </a:cubicBezTo>
                  <a:lnTo>
                    <a:pt x="204311" y="27146"/>
                  </a:lnTo>
                  <a:cubicBezTo>
                    <a:pt x="210598" y="27146"/>
                    <a:pt x="215741" y="22003"/>
                    <a:pt x="215741" y="15716"/>
                  </a:cubicBezTo>
                  <a:cubicBezTo>
                    <a:pt x="215741" y="9430"/>
                    <a:pt x="210655" y="4286"/>
                    <a:pt x="204311" y="42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grpSp>
      <p:sp>
        <p:nvSpPr>
          <p:cNvPr id="361" name="CuadroTexto 360">
            <a:extLst>
              <a:ext uri="{FF2B5EF4-FFF2-40B4-BE49-F238E27FC236}">
                <a16:creationId xmlns:a16="http://schemas.microsoft.com/office/drawing/2014/main" id="{6550D527-3D7C-497D-A54D-0F729454FF7E}"/>
              </a:ext>
            </a:extLst>
          </p:cNvPr>
          <p:cNvSpPr txBox="1"/>
          <p:nvPr/>
        </p:nvSpPr>
        <p:spPr>
          <a:xfrm>
            <a:off x="2146639" y="5050903"/>
            <a:ext cx="83298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074E8E"/>
                </a:solidFill>
                <a:effectLst/>
                <a:uLnTx/>
                <a:uFillTx/>
                <a:latin typeface="Calibri" panose="020F0502020204030204"/>
                <a:ea typeface="+mn-ea"/>
                <a:cs typeface="+mn-cs"/>
              </a:rPr>
              <a:t>LÍNEA 2</a:t>
            </a:r>
          </a:p>
        </p:txBody>
      </p:sp>
      <p:sp>
        <p:nvSpPr>
          <p:cNvPr id="362" name="CuadroTexto 361">
            <a:extLst>
              <a:ext uri="{FF2B5EF4-FFF2-40B4-BE49-F238E27FC236}">
                <a16:creationId xmlns:a16="http://schemas.microsoft.com/office/drawing/2014/main" id="{4173637A-3E90-4150-A596-CA1FCAE8C6B2}"/>
              </a:ext>
            </a:extLst>
          </p:cNvPr>
          <p:cNvSpPr txBox="1"/>
          <p:nvPr/>
        </p:nvSpPr>
        <p:spPr>
          <a:xfrm>
            <a:off x="4169715" y="5235920"/>
            <a:ext cx="83298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074E8E"/>
                </a:solidFill>
                <a:effectLst/>
                <a:uLnTx/>
                <a:uFillTx/>
                <a:latin typeface="Calibri" panose="020F0502020204030204"/>
                <a:ea typeface="+mn-ea"/>
                <a:cs typeface="+mn-cs"/>
              </a:rPr>
              <a:t>LÍNEA 3</a:t>
            </a:r>
          </a:p>
        </p:txBody>
      </p:sp>
      <p:sp>
        <p:nvSpPr>
          <p:cNvPr id="363" name="CuadroTexto 362">
            <a:extLst>
              <a:ext uri="{FF2B5EF4-FFF2-40B4-BE49-F238E27FC236}">
                <a16:creationId xmlns:a16="http://schemas.microsoft.com/office/drawing/2014/main" id="{DD49A4C8-962F-4A94-AF13-2FC65AF878DE}"/>
              </a:ext>
            </a:extLst>
          </p:cNvPr>
          <p:cNvSpPr txBox="1"/>
          <p:nvPr/>
        </p:nvSpPr>
        <p:spPr>
          <a:xfrm>
            <a:off x="5794447" y="5054726"/>
            <a:ext cx="83298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074E8E"/>
                </a:solidFill>
                <a:effectLst/>
                <a:uLnTx/>
                <a:uFillTx/>
                <a:latin typeface="Calibri" panose="020F0502020204030204"/>
                <a:ea typeface="+mn-ea"/>
                <a:cs typeface="+mn-cs"/>
              </a:rPr>
              <a:t>LÍNEA 4</a:t>
            </a:r>
          </a:p>
        </p:txBody>
      </p:sp>
      <p:sp>
        <p:nvSpPr>
          <p:cNvPr id="364" name="CuadroTexto 363">
            <a:extLst>
              <a:ext uri="{FF2B5EF4-FFF2-40B4-BE49-F238E27FC236}">
                <a16:creationId xmlns:a16="http://schemas.microsoft.com/office/drawing/2014/main" id="{9A587D14-D28D-4B00-B7D1-1F6D91E8E487}"/>
              </a:ext>
            </a:extLst>
          </p:cNvPr>
          <p:cNvSpPr txBox="1"/>
          <p:nvPr/>
        </p:nvSpPr>
        <p:spPr>
          <a:xfrm>
            <a:off x="1063918" y="5976714"/>
            <a:ext cx="1763590" cy="49244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074E8E"/>
                </a:solidFill>
                <a:effectLst/>
                <a:highlight>
                  <a:srgbClr val="ECF5FE"/>
                </a:highlight>
                <a:uLnTx/>
                <a:uFillTx/>
                <a:latin typeface="Calibri" panose="020F0502020204030204"/>
                <a:ea typeface="+mn-ea"/>
                <a:cs typeface="+mn-cs"/>
              </a:rPr>
              <a:t>ACCESO ÁGIL</a:t>
            </a:r>
            <a:r>
              <a:rPr kumimoji="0" lang="es-ES" sz="1200" b="1" i="0" u="none" strike="noStrike" kern="1200" cap="none" spc="0" normalizeH="0" baseline="0" noProof="0" dirty="0">
                <a:ln>
                  <a:noFill/>
                </a:ln>
                <a:solidFill>
                  <a:srgbClr val="0B6B0D"/>
                </a:solidFill>
                <a:effectLst/>
                <a:uLnTx/>
                <a:uFillTx/>
                <a:latin typeface="Calibri" panose="020F0502020204030204"/>
                <a:ea typeface="+mn-ea"/>
                <a:cs typeface="+mn-cs"/>
              </a:rPr>
              <a:t> </a:t>
            </a:r>
            <a:r>
              <a:rPr lang="es-ES" sz="1200" dirty="0">
                <a:solidFill>
                  <a:srgbClr val="323C47"/>
                </a:solidFill>
                <a:latin typeface="Calibri" panose="020F0502020204030204"/>
              </a:rPr>
              <a:t>al catálogo de servicios.</a:t>
            </a:r>
          </a:p>
        </p:txBody>
      </p:sp>
      <p:sp>
        <p:nvSpPr>
          <p:cNvPr id="365" name="CuadroTexto 364">
            <a:extLst>
              <a:ext uri="{FF2B5EF4-FFF2-40B4-BE49-F238E27FC236}">
                <a16:creationId xmlns:a16="http://schemas.microsoft.com/office/drawing/2014/main" id="{41504AC9-46A0-41E9-9ACE-896C6AC611E5}"/>
              </a:ext>
            </a:extLst>
          </p:cNvPr>
          <p:cNvSpPr txBox="1"/>
          <p:nvPr/>
        </p:nvSpPr>
        <p:spPr>
          <a:xfrm>
            <a:off x="3530873" y="6194620"/>
            <a:ext cx="1959728" cy="5196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074E8E"/>
                </a:solidFill>
                <a:effectLst/>
                <a:highlight>
                  <a:srgbClr val="ECF5FE"/>
                </a:highlight>
                <a:uLnTx/>
                <a:uFillTx/>
                <a:latin typeface="Calibri" panose="020F0502020204030204"/>
                <a:ea typeface="+mn-ea"/>
                <a:cs typeface="+mn-cs"/>
              </a:rPr>
              <a:t>FORMACIÓN Y ATENCIÓN A USUARIOS</a:t>
            </a:r>
            <a:endParaRPr kumimoji="0" lang="es-ES" sz="1200" b="0" i="0" u="none" strike="noStrike" kern="1200" cap="none" spc="0" normalizeH="0" baseline="0" noProof="0" dirty="0">
              <a:ln>
                <a:noFill/>
              </a:ln>
              <a:solidFill>
                <a:srgbClr val="323C47"/>
              </a:solidFill>
              <a:effectLst/>
              <a:uLnTx/>
              <a:uFillTx/>
              <a:latin typeface="Calibri" panose="020F0502020204030204"/>
              <a:ea typeface="+mn-ea"/>
              <a:cs typeface="+mn-cs"/>
            </a:endParaRPr>
          </a:p>
        </p:txBody>
      </p:sp>
      <p:sp>
        <p:nvSpPr>
          <p:cNvPr id="366" name="CuadroTexto 365">
            <a:extLst>
              <a:ext uri="{FF2B5EF4-FFF2-40B4-BE49-F238E27FC236}">
                <a16:creationId xmlns:a16="http://schemas.microsoft.com/office/drawing/2014/main" id="{7A3704D8-9CC8-421B-B40A-BAA14ACEB0F2}"/>
              </a:ext>
            </a:extLst>
          </p:cNvPr>
          <p:cNvSpPr txBox="1"/>
          <p:nvPr/>
        </p:nvSpPr>
        <p:spPr>
          <a:xfrm>
            <a:off x="6094162" y="6026175"/>
            <a:ext cx="1972789"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b="1" dirty="0">
                <a:solidFill>
                  <a:srgbClr val="074E8E"/>
                </a:solidFill>
                <a:highlight>
                  <a:srgbClr val="ECF5FE"/>
                </a:highlight>
                <a:latin typeface="Calibri" panose="020F0502020204030204"/>
              </a:rPr>
              <a:t>INFRAESTRUCTURA </a:t>
            </a:r>
            <a:r>
              <a:rPr lang="es-ES" sz="1200" dirty="0">
                <a:solidFill>
                  <a:srgbClr val="323C47"/>
                </a:solidFill>
                <a:latin typeface="Calibri" panose="020F0502020204030204"/>
              </a:rPr>
              <a:t>adecuada al profesional</a:t>
            </a:r>
          </a:p>
        </p:txBody>
      </p:sp>
      <p:sp>
        <p:nvSpPr>
          <p:cNvPr id="367" name="Forma libre: forma 366">
            <a:extLst>
              <a:ext uri="{FF2B5EF4-FFF2-40B4-BE49-F238E27FC236}">
                <a16:creationId xmlns:a16="http://schemas.microsoft.com/office/drawing/2014/main" id="{1A759427-42B1-4894-B06E-14EC1AA596BA}"/>
              </a:ext>
            </a:extLst>
          </p:cNvPr>
          <p:cNvSpPr/>
          <p:nvPr/>
        </p:nvSpPr>
        <p:spPr>
          <a:xfrm rot="21409801">
            <a:off x="1197585" y="3430568"/>
            <a:ext cx="1092481" cy="1092481"/>
          </a:xfrm>
          <a:custGeom>
            <a:avLst/>
            <a:gdLst>
              <a:gd name="connsiteX0" fmla="*/ 1487469 w 1487468"/>
              <a:gd name="connsiteY0" fmla="*/ 743735 h 1487468"/>
              <a:gd name="connsiteX1" fmla="*/ 743734 w 1487468"/>
              <a:gd name="connsiteY1" fmla="*/ 1487469 h 1487468"/>
              <a:gd name="connsiteX2" fmla="*/ 0 w 1487468"/>
              <a:gd name="connsiteY2" fmla="*/ 743734 h 1487468"/>
              <a:gd name="connsiteX3" fmla="*/ 743734 w 1487468"/>
              <a:gd name="connsiteY3" fmla="*/ 0 h 1487468"/>
              <a:gd name="connsiteX4" fmla="*/ 1487469 w 1487468"/>
              <a:gd name="connsiteY4" fmla="*/ 743735 h 1487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468" h="1487468">
                <a:moveTo>
                  <a:pt x="1487469" y="743735"/>
                </a:moveTo>
                <a:cubicBezTo>
                  <a:pt x="1487469" y="1154488"/>
                  <a:pt x="1154488" y="1487469"/>
                  <a:pt x="743734" y="1487469"/>
                </a:cubicBezTo>
                <a:cubicBezTo>
                  <a:pt x="332981" y="1487469"/>
                  <a:pt x="0" y="1154488"/>
                  <a:pt x="0" y="743734"/>
                </a:cubicBezTo>
                <a:cubicBezTo>
                  <a:pt x="0" y="332981"/>
                  <a:pt x="332981" y="0"/>
                  <a:pt x="743734" y="0"/>
                </a:cubicBezTo>
                <a:cubicBezTo>
                  <a:pt x="1154488" y="0"/>
                  <a:pt x="1487469" y="332981"/>
                  <a:pt x="1487469" y="743735"/>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68" name="Forma libre: forma 367">
            <a:extLst>
              <a:ext uri="{FF2B5EF4-FFF2-40B4-BE49-F238E27FC236}">
                <a16:creationId xmlns:a16="http://schemas.microsoft.com/office/drawing/2014/main" id="{0B2E2C96-8A6F-4116-A91B-BCC798D47A51}"/>
              </a:ext>
            </a:extLst>
          </p:cNvPr>
          <p:cNvSpPr/>
          <p:nvPr/>
        </p:nvSpPr>
        <p:spPr>
          <a:xfrm>
            <a:off x="1307533" y="3540412"/>
            <a:ext cx="872643" cy="872643"/>
          </a:xfrm>
          <a:custGeom>
            <a:avLst/>
            <a:gdLst>
              <a:gd name="connsiteX0" fmla="*/ 0 w 1188148"/>
              <a:gd name="connsiteY0" fmla="*/ 594074 h 1188148"/>
              <a:gd name="connsiteX1" fmla="*/ 594074 w 1188148"/>
              <a:gd name="connsiteY1" fmla="*/ 0 h 1188148"/>
              <a:gd name="connsiteX2" fmla="*/ 1188149 w 1188148"/>
              <a:gd name="connsiteY2" fmla="*/ 594074 h 1188148"/>
              <a:gd name="connsiteX3" fmla="*/ 594074 w 1188148"/>
              <a:gd name="connsiteY3" fmla="*/ 1188149 h 1188148"/>
              <a:gd name="connsiteX4" fmla="*/ 0 w 1188148"/>
              <a:gd name="connsiteY4" fmla="*/ 594074 h 1188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148" h="1188148">
                <a:moveTo>
                  <a:pt x="0" y="594074"/>
                </a:moveTo>
                <a:cubicBezTo>
                  <a:pt x="0" y="266033"/>
                  <a:pt x="266033" y="0"/>
                  <a:pt x="594074" y="0"/>
                </a:cubicBezTo>
                <a:cubicBezTo>
                  <a:pt x="922211" y="0"/>
                  <a:pt x="1188149" y="266033"/>
                  <a:pt x="1188149" y="594074"/>
                </a:cubicBezTo>
                <a:cubicBezTo>
                  <a:pt x="1188149" y="922211"/>
                  <a:pt x="922115" y="1188149"/>
                  <a:pt x="594074" y="1188149"/>
                </a:cubicBezTo>
                <a:cubicBezTo>
                  <a:pt x="265938" y="1188149"/>
                  <a:pt x="0" y="922115"/>
                  <a:pt x="0" y="594074"/>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grpSp>
        <p:nvGrpSpPr>
          <p:cNvPr id="369" name="Grupo 368">
            <a:extLst>
              <a:ext uri="{FF2B5EF4-FFF2-40B4-BE49-F238E27FC236}">
                <a16:creationId xmlns:a16="http://schemas.microsoft.com/office/drawing/2014/main" id="{0C0F5F9D-573E-4440-94C0-5A8B4FAD9401}"/>
              </a:ext>
            </a:extLst>
          </p:cNvPr>
          <p:cNvGrpSpPr/>
          <p:nvPr/>
        </p:nvGrpSpPr>
        <p:grpSpPr>
          <a:xfrm>
            <a:off x="1507376" y="3902731"/>
            <a:ext cx="447956" cy="381748"/>
            <a:chOff x="1825921" y="3047795"/>
            <a:chExt cx="900505" cy="767411"/>
          </a:xfrm>
          <a:solidFill>
            <a:schemeClr val="tx2"/>
          </a:solidFill>
        </p:grpSpPr>
        <p:sp>
          <p:nvSpPr>
            <p:cNvPr id="370" name="Forma libre: forma 369">
              <a:extLst>
                <a:ext uri="{FF2B5EF4-FFF2-40B4-BE49-F238E27FC236}">
                  <a16:creationId xmlns:a16="http://schemas.microsoft.com/office/drawing/2014/main" id="{F5A23E38-9B20-4D7E-8EC3-76C5014910E7}"/>
                </a:ext>
              </a:extLst>
            </p:cNvPr>
            <p:cNvSpPr/>
            <p:nvPr/>
          </p:nvSpPr>
          <p:spPr>
            <a:xfrm>
              <a:off x="2288724" y="3047795"/>
              <a:ext cx="422910" cy="365760"/>
            </a:xfrm>
            <a:custGeom>
              <a:avLst/>
              <a:gdLst>
                <a:gd name="connsiteX0" fmla="*/ 4286 w 422910"/>
                <a:gd name="connsiteY0" fmla="*/ 72295 h 365760"/>
                <a:gd name="connsiteX1" fmla="*/ 4286 w 422910"/>
                <a:gd name="connsiteY1" fmla="*/ 191224 h 365760"/>
                <a:gd name="connsiteX2" fmla="*/ 72295 w 422910"/>
                <a:gd name="connsiteY2" fmla="*/ 259232 h 365760"/>
                <a:gd name="connsiteX3" fmla="*/ 212598 w 422910"/>
                <a:gd name="connsiteY3" fmla="*/ 259232 h 365760"/>
                <a:gd name="connsiteX4" fmla="*/ 304952 w 422910"/>
                <a:gd name="connsiteY4" fmla="*/ 360216 h 365760"/>
                <a:gd name="connsiteX5" fmla="*/ 313411 w 422910"/>
                <a:gd name="connsiteY5" fmla="*/ 363931 h 365760"/>
                <a:gd name="connsiteX6" fmla="*/ 317525 w 422910"/>
                <a:gd name="connsiteY6" fmla="*/ 363131 h 365760"/>
                <a:gd name="connsiteX7" fmla="*/ 324841 w 422910"/>
                <a:gd name="connsiteY7" fmla="*/ 352501 h 365760"/>
                <a:gd name="connsiteX8" fmla="*/ 324841 w 422910"/>
                <a:gd name="connsiteY8" fmla="*/ 259232 h 365760"/>
                <a:gd name="connsiteX9" fmla="*/ 355644 w 422910"/>
                <a:gd name="connsiteY9" fmla="*/ 259232 h 365760"/>
                <a:gd name="connsiteX10" fmla="*/ 423653 w 422910"/>
                <a:gd name="connsiteY10" fmla="*/ 191224 h 365760"/>
                <a:gd name="connsiteX11" fmla="*/ 423653 w 422910"/>
                <a:gd name="connsiteY11" fmla="*/ 72295 h 365760"/>
                <a:gd name="connsiteX12" fmla="*/ 355644 w 422910"/>
                <a:gd name="connsiteY12" fmla="*/ 4286 h 365760"/>
                <a:gd name="connsiteX13" fmla="*/ 72295 w 422910"/>
                <a:gd name="connsiteY13" fmla="*/ 4286 h 365760"/>
                <a:gd name="connsiteX14" fmla="*/ 4286 w 422910"/>
                <a:gd name="connsiteY14" fmla="*/ 72295 h 365760"/>
                <a:gd name="connsiteX15" fmla="*/ 400793 w 422910"/>
                <a:gd name="connsiteY15" fmla="*/ 72295 h 365760"/>
                <a:gd name="connsiteX16" fmla="*/ 400793 w 422910"/>
                <a:gd name="connsiteY16" fmla="*/ 191224 h 365760"/>
                <a:gd name="connsiteX17" fmla="*/ 355644 w 422910"/>
                <a:gd name="connsiteY17" fmla="*/ 236372 h 365760"/>
                <a:gd name="connsiteX18" fmla="*/ 313411 w 422910"/>
                <a:gd name="connsiteY18" fmla="*/ 236372 h 365760"/>
                <a:gd name="connsiteX19" fmla="*/ 301981 w 422910"/>
                <a:gd name="connsiteY19" fmla="*/ 247802 h 365760"/>
                <a:gd name="connsiteX20" fmla="*/ 301981 w 422910"/>
                <a:gd name="connsiteY20" fmla="*/ 323069 h 365760"/>
                <a:gd name="connsiteX21" fmla="*/ 226085 w 422910"/>
                <a:gd name="connsiteY21" fmla="*/ 240087 h 365760"/>
                <a:gd name="connsiteX22" fmla="*/ 217627 w 422910"/>
                <a:gd name="connsiteY22" fmla="*/ 236372 h 365760"/>
                <a:gd name="connsiteX23" fmla="*/ 72295 w 422910"/>
                <a:gd name="connsiteY23" fmla="*/ 236372 h 365760"/>
                <a:gd name="connsiteX24" fmla="*/ 27146 w 422910"/>
                <a:gd name="connsiteY24" fmla="*/ 191224 h 365760"/>
                <a:gd name="connsiteX25" fmla="*/ 27146 w 422910"/>
                <a:gd name="connsiteY25" fmla="*/ 72295 h 365760"/>
                <a:gd name="connsiteX26" fmla="*/ 72295 w 422910"/>
                <a:gd name="connsiteY26" fmla="*/ 27146 h 365760"/>
                <a:gd name="connsiteX27" fmla="*/ 355644 w 422910"/>
                <a:gd name="connsiteY27" fmla="*/ 27146 h 365760"/>
                <a:gd name="connsiteX28" fmla="*/ 400793 w 422910"/>
                <a:gd name="connsiteY28" fmla="*/ 72295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22910" h="365760">
                  <a:moveTo>
                    <a:pt x="4286" y="72295"/>
                  </a:moveTo>
                  <a:lnTo>
                    <a:pt x="4286" y="191224"/>
                  </a:lnTo>
                  <a:cubicBezTo>
                    <a:pt x="4286" y="228714"/>
                    <a:pt x="34804" y="259232"/>
                    <a:pt x="72295" y="259232"/>
                  </a:cubicBezTo>
                  <a:lnTo>
                    <a:pt x="212598" y="259232"/>
                  </a:lnTo>
                  <a:lnTo>
                    <a:pt x="304952" y="360216"/>
                  </a:lnTo>
                  <a:cubicBezTo>
                    <a:pt x="307181" y="362617"/>
                    <a:pt x="310267" y="363931"/>
                    <a:pt x="313411" y="363931"/>
                  </a:cubicBezTo>
                  <a:cubicBezTo>
                    <a:pt x="314782" y="363931"/>
                    <a:pt x="316211" y="363703"/>
                    <a:pt x="317525" y="363131"/>
                  </a:cubicBezTo>
                  <a:cubicBezTo>
                    <a:pt x="321926" y="361417"/>
                    <a:pt x="324841" y="357188"/>
                    <a:pt x="324841" y="352501"/>
                  </a:cubicBezTo>
                  <a:lnTo>
                    <a:pt x="324841" y="259232"/>
                  </a:lnTo>
                  <a:lnTo>
                    <a:pt x="355644" y="259232"/>
                  </a:lnTo>
                  <a:cubicBezTo>
                    <a:pt x="393135" y="259232"/>
                    <a:pt x="423653" y="228714"/>
                    <a:pt x="423653" y="191224"/>
                  </a:cubicBezTo>
                  <a:lnTo>
                    <a:pt x="423653" y="72295"/>
                  </a:lnTo>
                  <a:cubicBezTo>
                    <a:pt x="423653" y="34804"/>
                    <a:pt x="393135" y="4286"/>
                    <a:pt x="355644" y="4286"/>
                  </a:cubicBezTo>
                  <a:lnTo>
                    <a:pt x="72295" y="4286"/>
                  </a:lnTo>
                  <a:cubicBezTo>
                    <a:pt x="34804" y="4286"/>
                    <a:pt x="4286" y="34804"/>
                    <a:pt x="4286" y="72295"/>
                  </a:cubicBezTo>
                  <a:close/>
                  <a:moveTo>
                    <a:pt x="400793" y="72295"/>
                  </a:moveTo>
                  <a:lnTo>
                    <a:pt x="400793" y="191224"/>
                  </a:lnTo>
                  <a:cubicBezTo>
                    <a:pt x="400793" y="216141"/>
                    <a:pt x="380562" y="236372"/>
                    <a:pt x="355644" y="236372"/>
                  </a:cubicBezTo>
                  <a:lnTo>
                    <a:pt x="313411" y="236372"/>
                  </a:lnTo>
                  <a:cubicBezTo>
                    <a:pt x="307124" y="236372"/>
                    <a:pt x="301981" y="241516"/>
                    <a:pt x="301981" y="247802"/>
                  </a:cubicBezTo>
                  <a:lnTo>
                    <a:pt x="301981" y="323069"/>
                  </a:lnTo>
                  <a:lnTo>
                    <a:pt x="226085" y="240087"/>
                  </a:lnTo>
                  <a:cubicBezTo>
                    <a:pt x="223914" y="237744"/>
                    <a:pt x="220885" y="236372"/>
                    <a:pt x="217627" y="236372"/>
                  </a:cubicBezTo>
                  <a:lnTo>
                    <a:pt x="72295" y="236372"/>
                  </a:lnTo>
                  <a:cubicBezTo>
                    <a:pt x="47377" y="236372"/>
                    <a:pt x="27146" y="216141"/>
                    <a:pt x="27146" y="191224"/>
                  </a:cubicBezTo>
                  <a:lnTo>
                    <a:pt x="27146" y="72295"/>
                  </a:lnTo>
                  <a:cubicBezTo>
                    <a:pt x="27146" y="47435"/>
                    <a:pt x="47377" y="27146"/>
                    <a:pt x="72295" y="27146"/>
                  </a:cubicBezTo>
                  <a:lnTo>
                    <a:pt x="355644" y="27146"/>
                  </a:lnTo>
                  <a:cubicBezTo>
                    <a:pt x="380562" y="27146"/>
                    <a:pt x="400793" y="47377"/>
                    <a:pt x="400793" y="7229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71" name="Forma libre: forma 370">
              <a:extLst>
                <a:ext uri="{FF2B5EF4-FFF2-40B4-BE49-F238E27FC236}">
                  <a16:creationId xmlns:a16="http://schemas.microsoft.com/office/drawing/2014/main" id="{E466AA33-F7F1-4B33-A118-894BF7B2D70B}"/>
                </a:ext>
              </a:extLst>
            </p:cNvPr>
            <p:cNvSpPr/>
            <p:nvPr/>
          </p:nvSpPr>
          <p:spPr>
            <a:xfrm>
              <a:off x="1963426" y="3151466"/>
              <a:ext cx="240030" cy="240030"/>
            </a:xfrm>
            <a:custGeom>
              <a:avLst/>
              <a:gdLst>
                <a:gd name="connsiteX0" fmla="*/ 240316 w 240030"/>
                <a:gd name="connsiteY0" fmla="*/ 122301 h 240030"/>
                <a:gd name="connsiteX1" fmla="*/ 122301 w 240030"/>
                <a:gd name="connsiteY1" fmla="*/ 4286 h 240030"/>
                <a:gd name="connsiteX2" fmla="*/ 4286 w 240030"/>
                <a:gd name="connsiteY2" fmla="*/ 122301 h 240030"/>
                <a:gd name="connsiteX3" fmla="*/ 122301 w 240030"/>
                <a:gd name="connsiteY3" fmla="*/ 240316 h 240030"/>
                <a:gd name="connsiteX4" fmla="*/ 240316 w 240030"/>
                <a:gd name="connsiteY4" fmla="*/ 122301 h 240030"/>
                <a:gd name="connsiteX5" fmla="*/ 27146 w 240030"/>
                <a:gd name="connsiteY5" fmla="*/ 122301 h 240030"/>
                <a:gd name="connsiteX6" fmla="*/ 122301 w 240030"/>
                <a:gd name="connsiteY6" fmla="*/ 27146 h 240030"/>
                <a:gd name="connsiteX7" fmla="*/ 217456 w 240030"/>
                <a:gd name="connsiteY7" fmla="*/ 122301 h 240030"/>
                <a:gd name="connsiteX8" fmla="*/ 122301 w 240030"/>
                <a:gd name="connsiteY8" fmla="*/ 217456 h 240030"/>
                <a:gd name="connsiteX9" fmla="*/ 27146 w 240030"/>
                <a:gd name="connsiteY9" fmla="*/ 122301 h 24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030" h="240030">
                  <a:moveTo>
                    <a:pt x="240316" y="122301"/>
                  </a:moveTo>
                  <a:cubicBezTo>
                    <a:pt x="240316" y="57207"/>
                    <a:pt x="187395" y="4286"/>
                    <a:pt x="122301" y="4286"/>
                  </a:cubicBezTo>
                  <a:cubicBezTo>
                    <a:pt x="57207" y="4286"/>
                    <a:pt x="4286" y="57207"/>
                    <a:pt x="4286" y="122301"/>
                  </a:cubicBezTo>
                  <a:cubicBezTo>
                    <a:pt x="4286" y="187395"/>
                    <a:pt x="57264" y="240316"/>
                    <a:pt x="122301" y="240316"/>
                  </a:cubicBezTo>
                  <a:cubicBezTo>
                    <a:pt x="187395" y="240316"/>
                    <a:pt x="240316" y="187338"/>
                    <a:pt x="240316" y="122301"/>
                  </a:cubicBezTo>
                  <a:close/>
                  <a:moveTo>
                    <a:pt x="27146" y="122301"/>
                  </a:moveTo>
                  <a:cubicBezTo>
                    <a:pt x="27146" y="69837"/>
                    <a:pt x="69837" y="27146"/>
                    <a:pt x="122301" y="27146"/>
                  </a:cubicBezTo>
                  <a:cubicBezTo>
                    <a:pt x="174765" y="27146"/>
                    <a:pt x="217456" y="69837"/>
                    <a:pt x="217456" y="122301"/>
                  </a:cubicBezTo>
                  <a:cubicBezTo>
                    <a:pt x="217456" y="174765"/>
                    <a:pt x="174765" y="217456"/>
                    <a:pt x="122301" y="217456"/>
                  </a:cubicBezTo>
                  <a:cubicBezTo>
                    <a:pt x="69837" y="217456"/>
                    <a:pt x="27146" y="174765"/>
                    <a:pt x="27146" y="122301"/>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72" name="Forma libre: forma 371">
              <a:extLst>
                <a:ext uri="{FF2B5EF4-FFF2-40B4-BE49-F238E27FC236}">
                  <a16:creationId xmlns:a16="http://schemas.microsoft.com/office/drawing/2014/main" id="{A0DD45FD-98E6-4D46-AC0E-177B59EF9900}"/>
                </a:ext>
              </a:extLst>
            </p:cNvPr>
            <p:cNvSpPr/>
            <p:nvPr/>
          </p:nvSpPr>
          <p:spPr>
            <a:xfrm>
              <a:off x="1825921" y="3408759"/>
              <a:ext cx="645795" cy="394335"/>
            </a:xfrm>
            <a:custGeom>
              <a:avLst/>
              <a:gdLst>
                <a:gd name="connsiteX0" fmla="*/ 59896 w 645795"/>
                <a:gd name="connsiteY0" fmla="*/ 127383 h 394335"/>
                <a:gd name="connsiteX1" fmla="*/ 4517 w 645795"/>
                <a:gd name="connsiteY1" fmla="*/ 379701 h 394335"/>
                <a:gd name="connsiteX2" fmla="*/ 13433 w 645795"/>
                <a:gd name="connsiteY2" fmla="*/ 393188 h 394335"/>
                <a:gd name="connsiteX3" fmla="*/ 15719 w 645795"/>
                <a:gd name="connsiteY3" fmla="*/ 393417 h 394335"/>
                <a:gd name="connsiteX4" fmla="*/ 26920 w 645795"/>
                <a:gd name="connsiteY4" fmla="*/ 384273 h 394335"/>
                <a:gd name="connsiteX5" fmla="*/ 82241 w 645795"/>
                <a:gd name="connsiteY5" fmla="*/ 132184 h 394335"/>
                <a:gd name="connsiteX6" fmla="*/ 239061 w 645795"/>
                <a:gd name="connsiteY6" fmla="*/ 28457 h 394335"/>
                <a:gd name="connsiteX7" fmla="*/ 360219 w 645795"/>
                <a:gd name="connsiteY7" fmla="*/ 102066 h 394335"/>
                <a:gd name="connsiteX8" fmla="*/ 452973 w 645795"/>
                <a:gd name="connsiteY8" fmla="*/ 225624 h 394335"/>
                <a:gd name="connsiteX9" fmla="*/ 490978 w 645795"/>
                <a:gd name="connsiteY9" fmla="*/ 241569 h 394335"/>
                <a:gd name="connsiteX10" fmla="*/ 566988 w 645795"/>
                <a:gd name="connsiteY10" fmla="*/ 230882 h 394335"/>
                <a:gd name="connsiteX11" fmla="*/ 618651 w 645795"/>
                <a:gd name="connsiteY11" fmla="*/ 269687 h 394335"/>
                <a:gd name="connsiteX12" fmla="*/ 579846 w 645795"/>
                <a:gd name="connsiteY12" fmla="*/ 321350 h 394335"/>
                <a:gd name="connsiteX13" fmla="*/ 452459 w 645795"/>
                <a:gd name="connsiteY13" fmla="*/ 339410 h 394335"/>
                <a:gd name="connsiteX14" fmla="*/ 432914 w 645795"/>
                <a:gd name="connsiteY14" fmla="*/ 337924 h 394335"/>
                <a:gd name="connsiteX15" fmla="*/ 409196 w 645795"/>
                <a:gd name="connsiteY15" fmla="*/ 321522 h 394335"/>
                <a:gd name="connsiteX16" fmla="*/ 314327 w 645795"/>
                <a:gd name="connsiteY16" fmla="*/ 191963 h 394335"/>
                <a:gd name="connsiteX17" fmla="*/ 281466 w 645795"/>
                <a:gd name="connsiteY17" fmla="*/ 175161 h 394335"/>
                <a:gd name="connsiteX18" fmla="*/ 258892 w 645795"/>
                <a:gd name="connsiteY18" fmla="*/ 204307 h 394335"/>
                <a:gd name="connsiteX19" fmla="*/ 223688 w 645795"/>
                <a:gd name="connsiteY19" fmla="*/ 377529 h 394335"/>
                <a:gd name="connsiteX20" fmla="*/ 232603 w 645795"/>
                <a:gd name="connsiteY20" fmla="*/ 391016 h 394335"/>
                <a:gd name="connsiteX21" fmla="*/ 246090 w 645795"/>
                <a:gd name="connsiteY21" fmla="*/ 382101 h 394335"/>
                <a:gd name="connsiteX22" fmla="*/ 281352 w 645795"/>
                <a:gd name="connsiteY22" fmla="*/ 208822 h 394335"/>
                <a:gd name="connsiteX23" fmla="*/ 286495 w 645795"/>
                <a:gd name="connsiteY23" fmla="*/ 197449 h 394335"/>
                <a:gd name="connsiteX24" fmla="*/ 295982 w 645795"/>
                <a:gd name="connsiteY24" fmla="*/ 205508 h 394335"/>
                <a:gd name="connsiteX25" fmla="*/ 390851 w 645795"/>
                <a:gd name="connsiteY25" fmla="*/ 335009 h 394335"/>
                <a:gd name="connsiteX26" fmla="*/ 426056 w 645795"/>
                <a:gd name="connsiteY26" fmla="*/ 359641 h 394335"/>
                <a:gd name="connsiteX27" fmla="*/ 426970 w 645795"/>
                <a:gd name="connsiteY27" fmla="*/ 359927 h 394335"/>
                <a:gd name="connsiteX28" fmla="*/ 455774 w 645795"/>
                <a:gd name="connsiteY28" fmla="*/ 362041 h 394335"/>
                <a:gd name="connsiteX29" fmla="*/ 583161 w 645795"/>
                <a:gd name="connsiteY29" fmla="*/ 343982 h 394335"/>
                <a:gd name="connsiteX30" fmla="*/ 641397 w 645795"/>
                <a:gd name="connsiteY30" fmla="*/ 266486 h 394335"/>
                <a:gd name="connsiteX31" fmla="*/ 563844 w 645795"/>
                <a:gd name="connsiteY31" fmla="*/ 208251 h 394335"/>
                <a:gd name="connsiteX32" fmla="*/ 488006 w 645795"/>
                <a:gd name="connsiteY32" fmla="*/ 218880 h 394335"/>
                <a:gd name="connsiteX33" fmla="*/ 471376 w 645795"/>
                <a:gd name="connsiteY33" fmla="*/ 211908 h 394335"/>
                <a:gd name="connsiteX34" fmla="*/ 378221 w 645795"/>
                <a:gd name="connsiteY34" fmla="*/ 87836 h 394335"/>
                <a:gd name="connsiteX35" fmla="*/ 241690 w 645795"/>
                <a:gd name="connsiteY35" fmla="*/ 5711 h 394335"/>
                <a:gd name="connsiteX36" fmla="*/ 59896 w 645795"/>
                <a:gd name="connsiteY36" fmla="*/ 127383 h 394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45795" h="394335">
                  <a:moveTo>
                    <a:pt x="59896" y="127383"/>
                  </a:moveTo>
                  <a:cubicBezTo>
                    <a:pt x="59553" y="128869"/>
                    <a:pt x="25606" y="276488"/>
                    <a:pt x="4517" y="379701"/>
                  </a:cubicBezTo>
                  <a:cubicBezTo>
                    <a:pt x="3260" y="385873"/>
                    <a:pt x="7261" y="391931"/>
                    <a:pt x="13433" y="393188"/>
                  </a:cubicBezTo>
                  <a:cubicBezTo>
                    <a:pt x="14233" y="393360"/>
                    <a:pt x="14976" y="393417"/>
                    <a:pt x="15719" y="393417"/>
                  </a:cubicBezTo>
                  <a:cubicBezTo>
                    <a:pt x="21034" y="393417"/>
                    <a:pt x="25777" y="389702"/>
                    <a:pt x="26920" y="384273"/>
                  </a:cubicBezTo>
                  <a:cubicBezTo>
                    <a:pt x="47951" y="281345"/>
                    <a:pt x="81841" y="133956"/>
                    <a:pt x="82241" y="132184"/>
                  </a:cubicBezTo>
                  <a:cubicBezTo>
                    <a:pt x="96700" y="59832"/>
                    <a:pt x="158251" y="19141"/>
                    <a:pt x="239061" y="28457"/>
                  </a:cubicBezTo>
                  <a:cubicBezTo>
                    <a:pt x="272894" y="32343"/>
                    <a:pt x="310156" y="41258"/>
                    <a:pt x="360219" y="102066"/>
                  </a:cubicBezTo>
                  <a:cubicBezTo>
                    <a:pt x="360676" y="102638"/>
                    <a:pt x="403882" y="159902"/>
                    <a:pt x="452973" y="225624"/>
                  </a:cubicBezTo>
                  <a:cubicBezTo>
                    <a:pt x="461089" y="236540"/>
                    <a:pt x="477491" y="243398"/>
                    <a:pt x="490978" y="241569"/>
                  </a:cubicBezTo>
                  <a:cubicBezTo>
                    <a:pt x="536698" y="235397"/>
                    <a:pt x="566759" y="230939"/>
                    <a:pt x="566988" y="230882"/>
                  </a:cubicBezTo>
                  <a:cubicBezTo>
                    <a:pt x="591905" y="227339"/>
                    <a:pt x="615108" y="244770"/>
                    <a:pt x="618651" y="269687"/>
                  </a:cubicBezTo>
                  <a:cubicBezTo>
                    <a:pt x="622195" y="294604"/>
                    <a:pt x="604764" y="317807"/>
                    <a:pt x="579846" y="321350"/>
                  </a:cubicBezTo>
                  <a:lnTo>
                    <a:pt x="452459" y="339410"/>
                  </a:lnTo>
                  <a:cubicBezTo>
                    <a:pt x="447487" y="340096"/>
                    <a:pt x="439486" y="339524"/>
                    <a:pt x="432914" y="337924"/>
                  </a:cubicBezTo>
                  <a:cubicBezTo>
                    <a:pt x="423427" y="334552"/>
                    <a:pt x="414111" y="328151"/>
                    <a:pt x="409196" y="321522"/>
                  </a:cubicBezTo>
                  <a:cubicBezTo>
                    <a:pt x="408682" y="320836"/>
                    <a:pt x="358104" y="251342"/>
                    <a:pt x="314327" y="191963"/>
                  </a:cubicBezTo>
                  <a:cubicBezTo>
                    <a:pt x="301012" y="173903"/>
                    <a:pt x="288039" y="173675"/>
                    <a:pt x="281466" y="175161"/>
                  </a:cubicBezTo>
                  <a:cubicBezTo>
                    <a:pt x="274894" y="176646"/>
                    <a:pt x="263293" y="182361"/>
                    <a:pt x="258892" y="204307"/>
                  </a:cubicBezTo>
                  <a:lnTo>
                    <a:pt x="223688" y="377529"/>
                  </a:lnTo>
                  <a:cubicBezTo>
                    <a:pt x="222430" y="383701"/>
                    <a:pt x="226431" y="389759"/>
                    <a:pt x="232603" y="391016"/>
                  </a:cubicBezTo>
                  <a:cubicBezTo>
                    <a:pt x="238832" y="392274"/>
                    <a:pt x="244833" y="388273"/>
                    <a:pt x="246090" y="382101"/>
                  </a:cubicBezTo>
                  <a:lnTo>
                    <a:pt x="281352" y="208822"/>
                  </a:lnTo>
                  <a:cubicBezTo>
                    <a:pt x="283066" y="200249"/>
                    <a:pt x="285867" y="197678"/>
                    <a:pt x="286495" y="197449"/>
                  </a:cubicBezTo>
                  <a:cubicBezTo>
                    <a:pt x="287124" y="197278"/>
                    <a:pt x="290782" y="198535"/>
                    <a:pt x="295982" y="205508"/>
                  </a:cubicBezTo>
                  <a:cubicBezTo>
                    <a:pt x="339759" y="264829"/>
                    <a:pt x="390280" y="334266"/>
                    <a:pt x="390851" y="335009"/>
                  </a:cubicBezTo>
                  <a:cubicBezTo>
                    <a:pt x="398738" y="345582"/>
                    <a:pt x="411883" y="354783"/>
                    <a:pt x="426056" y="359641"/>
                  </a:cubicBezTo>
                  <a:lnTo>
                    <a:pt x="426970" y="359927"/>
                  </a:lnTo>
                  <a:cubicBezTo>
                    <a:pt x="434514" y="361813"/>
                    <a:pt x="446058" y="363356"/>
                    <a:pt x="455774" y="362041"/>
                  </a:cubicBezTo>
                  <a:lnTo>
                    <a:pt x="583161" y="343982"/>
                  </a:lnTo>
                  <a:cubicBezTo>
                    <a:pt x="620594" y="338667"/>
                    <a:pt x="646712" y="303920"/>
                    <a:pt x="641397" y="266486"/>
                  </a:cubicBezTo>
                  <a:cubicBezTo>
                    <a:pt x="636082" y="229053"/>
                    <a:pt x="601335" y="202936"/>
                    <a:pt x="563844" y="208251"/>
                  </a:cubicBezTo>
                  <a:cubicBezTo>
                    <a:pt x="563559" y="208308"/>
                    <a:pt x="533555" y="212708"/>
                    <a:pt x="488006" y="218880"/>
                  </a:cubicBezTo>
                  <a:cubicBezTo>
                    <a:pt x="482691" y="219623"/>
                    <a:pt x="474576" y="216195"/>
                    <a:pt x="471376" y="211908"/>
                  </a:cubicBezTo>
                  <a:cubicBezTo>
                    <a:pt x="422227" y="146129"/>
                    <a:pt x="378964" y="88807"/>
                    <a:pt x="378221" y="87836"/>
                  </a:cubicBezTo>
                  <a:cubicBezTo>
                    <a:pt x="322386" y="20113"/>
                    <a:pt x="278494" y="9940"/>
                    <a:pt x="241690" y="5711"/>
                  </a:cubicBezTo>
                  <a:cubicBezTo>
                    <a:pt x="149678" y="-4862"/>
                    <a:pt x="76526" y="44173"/>
                    <a:pt x="59896" y="12738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73" name="Forma libre: forma 372">
              <a:extLst>
                <a:ext uri="{FF2B5EF4-FFF2-40B4-BE49-F238E27FC236}">
                  <a16:creationId xmlns:a16="http://schemas.microsoft.com/office/drawing/2014/main" id="{3CD0AE73-3373-4AC9-B39E-F66BCFB2DC43}"/>
                </a:ext>
              </a:extLst>
            </p:cNvPr>
            <p:cNvSpPr/>
            <p:nvPr/>
          </p:nvSpPr>
          <p:spPr>
            <a:xfrm>
              <a:off x="2345474" y="3786631"/>
              <a:ext cx="342900" cy="28575"/>
            </a:xfrm>
            <a:custGeom>
              <a:avLst/>
              <a:gdLst>
                <a:gd name="connsiteX0" fmla="*/ 342043 w 342900"/>
                <a:gd name="connsiteY0" fmla="*/ 15716 h 28575"/>
                <a:gd name="connsiteX1" fmla="*/ 330613 w 342900"/>
                <a:gd name="connsiteY1" fmla="*/ 4286 h 28575"/>
                <a:gd name="connsiteX2" fmla="*/ 15716 w 342900"/>
                <a:gd name="connsiteY2" fmla="*/ 4286 h 28575"/>
                <a:gd name="connsiteX3" fmla="*/ 4286 w 342900"/>
                <a:gd name="connsiteY3" fmla="*/ 15716 h 28575"/>
                <a:gd name="connsiteX4" fmla="*/ 15716 w 342900"/>
                <a:gd name="connsiteY4" fmla="*/ 27146 h 28575"/>
                <a:gd name="connsiteX5" fmla="*/ 330613 w 342900"/>
                <a:gd name="connsiteY5" fmla="*/ 27146 h 28575"/>
                <a:gd name="connsiteX6" fmla="*/ 342043 w 342900"/>
                <a:gd name="connsiteY6" fmla="*/ 15716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900" h="28575">
                  <a:moveTo>
                    <a:pt x="342043" y="15716"/>
                  </a:moveTo>
                  <a:cubicBezTo>
                    <a:pt x="342043" y="9430"/>
                    <a:pt x="336899" y="4286"/>
                    <a:pt x="330613" y="4286"/>
                  </a:cubicBezTo>
                  <a:lnTo>
                    <a:pt x="15716" y="4286"/>
                  </a:lnTo>
                  <a:cubicBezTo>
                    <a:pt x="9430" y="4286"/>
                    <a:pt x="4286" y="9430"/>
                    <a:pt x="4286" y="15716"/>
                  </a:cubicBezTo>
                  <a:cubicBezTo>
                    <a:pt x="4286" y="22003"/>
                    <a:pt x="9430" y="27146"/>
                    <a:pt x="15716" y="27146"/>
                  </a:cubicBezTo>
                  <a:lnTo>
                    <a:pt x="330613" y="27146"/>
                  </a:lnTo>
                  <a:cubicBezTo>
                    <a:pt x="336956" y="27146"/>
                    <a:pt x="342043" y="22003"/>
                    <a:pt x="342043" y="1571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74" name="Forma libre: forma 373">
              <a:extLst>
                <a:ext uri="{FF2B5EF4-FFF2-40B4-BE49-F238E27FC236}">
                  <a16:creationId xmlns:a16="http://schemas.microsoft.com/office/drawing/2014/main" id="{8374B880-0754-4C15-AFE5-DB88511A97DA}"/>
                </a:ext>
              </a:extLst>
            </p:cNvPr>
            <p:cNvSpPr/>
            <p:nvPr/>
          </p:nvSpPr>
          <p:spPr>
            <a:xfrm>
              <a:off x="2349236" y="3444016"/>
              <a:ext cx="377190" cy="320040"/>
            </a:xfrm>
            <a:custGeom>
              <a:avLst/>
              <a:gdLst>
                <a:gd name="connsiteX0" fmla="*/ 364341 w 377190"/>
                <a:gd name="connsiteY0" fmla="*/ 20688 h 320040"/>
                <a:gd name="connsiteX1" fmla="*/ 328451 w 377190"/>
                <a:gd name="connsiteY1" fmla="*/ 4286 h 320040"/>
                <a:gd name="connsiteX2" fmla="*/ 82992 w 377190"/>
                <a:gd name="connsiteY2" fmla="*/ 4286 h 320040"/>
                <a:gd name="connsiteX3" fmla="*/ 19041 w 377190"/>
                <a:gd name="connsiteY3" fmla="*/ 53950 h 320040"/>
                <a:gd name="connsiteX4" fmla="*/ 4639 w 377190"/>
                <a:gd name="connsiteY4" fmla="*/ 110357 h 320040"/>
                <a:gd name="connsiteX5" fmla="*/ 12869 w 377190"/>
                <a:gd name="connsiteY5" fmla="*/ 124244 h 320040"/>
                <a:gd name="connsiteX6" fmla="*/ 26756 w 377190"/>
                <a:gd name="connsiteY6" fmla="*/ 116014 h 320040"/>
                <a:gd name="connsiteX7" fmla="*/ 41158 w 377190"/>
                <a:gd name="connsiteY7" fmla="*/ 59607 h 320040"/>
                <a:gd name="connsiteX8" fmla="*/ 82935 w 377190"/>
                <a:gd name="connsiteY8" fmla="*/ 27146 h 320040"/>
                <a:gd name="connsiteX9" fmla="*/ 328394 w 377190"/>
                <a:gd name="connsiteY9" fmla="*/ 27146 h 320040"/>
                <a:gd name="connsiteX10" fmla="*/ 346225 w 377190"/>
                <a:gd name="connsiteY10" fmla="*/ 34747 h 320040"/>
                <a:gd name="connsiteX11" fmla="*/ 349196 w 377190"/>
                <a:gd name="connsiteY11" fmla="*/ 53950 h 320040"/>
                <a:gd name="connsiteX12" fmla="*/ 295990 w 377190"/>
                <a:gd name="connsiteY12" fmla="*/ 262319 h 320040"/>
                <a:gd name="connsiteX13" fmla="*/ 254213 w 377190"/>
                <a:gd name="connsiteY13" fmla="*/ 294780 h 320040"/>
                <a:gd name="connsiteX14" fmla="*/ 145400 w 377190"/>
                <a:gd name="connsiteY14" fmla="*/ 294780 h 320040"/>
                <a:gd name="connsiteX15" fmla="*/ 133970 w 377190"/>
                <a:gd name="connsiteY15" fmla="*/ 306210 h 320040"/>
                <a:gd name="connsiteX16" fmla="*/ 145400 w 377190"/>
                <a:gd name="connsiteY16" fmla="*/ 317640 h 320040"/>
                <a:gd name="connsiteX17" fmla="*/ 254213 w 377190"/>
                <a:gd name="connsiteY17" fmla="*/ 317640 h 320040"/>
                <a:gd name="connsiteX18" fmla="*/ 318164 w 377190"/>
                <a:gd name="connsiteY18" fmla="*/ 267976 h 320040"/>
                <a:gd name="connsiteX19" fmla="*/ 371371 w 377190"/>
                <a:gd name="connsiteY19" fmla="*/ 59607 h 320040"/>
                <a:gd name="connsiteX20" fmla="*/ 364341 w 377190"/>
                <a:gd name="connsiteY20" fmla="*/ 20688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7190" h="320040">
                  <a:moveTo>
                    <a:pt x="364341" y="20688"/>
                  </a:moveTo>
                  <a:cubicBezTo>
                    <a:pt x="356112" y="10116"/>
                    <a:pt x="343367" y="4286"/>
                    <a:pt x="328451" y="4286"/>
                  </a:cubicBezTo>
                  <a:lnTo>
                    <a:pt x="82992" y="4286"/>
                  </a:lnTo>
                  <a:cubicBezTo>
                    <a:pt x="54245" y="4286"/>
                    <a:pt x="26185" y="26118"/>
                    <a:pt x="19041" y="53950"/>
                  </a:cubicBezTo>
                  <a:lnTo>
                    <a:pt x="4639" y="110357"/>
                  </a:lnTo>
                  <a:cubicBezTo>
                    <a:pt x="3096" y="116472"/>
                    <a:pt x="6754" y="122701"/>
                    <a:pt x="12869" y="124244"/>
                  </a:cubicBezTo>
                  <a:cubicBezTo>
                    <a:pt x="18984" y="125787"/>
                    <a:pt x="25213" y="122130"/>
                    <a:pt x="26756" y="116014"/>
                  </a:cubicBezTo>
                  <a:lnTo>
                    <a:pt x="41158" y="59607"/>
                  </a:lnTo>
                  <a:cubicBezTo>
                    <a:pt x="45673" y="42005"/>
                    <a:pt x="64761" y="27146"/>
                    <a:pt x="82935" y="27146"/>
                  </a:cubicBezTo>
                  <a:lnTo>
                    <a:pt x="328394" y="27146"/>
                  </a:lnTo>
                  <a:cubicBezTo>
                    <a:pt x="336109" y="27146"/>
                    <a:pt x="342453" y="29832"/>
                    <a:pt x="346225" y="34747"/>
                  </a:cubicBezTo>
                  <a:cubicBezTo>
                    <a:pt x="350054" y="39662"/>
                    <a:pt x="351082" y="46463"/>
                    <a:pt x="349196" y="53950"/>
                  </a:cubicBezTo>
                  <a:lnTo>
                    <a:pt x="295990" y="262319"/>
                  </a:lnTo>
                  <a:cubicBezTo>
                    <a:pt x="291475" y="279921"/>
                    <a:pt x="272387" y="294780"/>
                    <a:pt x="254213" y="294780"/>
                  </a:cubicBezTo>
                  <a:lnTo>
                    <a:pt x="145400" y="294780"/>
                  </a:lnTo>
                  <a:cubicBezTo>
                    <a:pt x="139113" y="294780"/>
                    <a:pt x="133970" y="299923"/>
                    <a:pt x="133970" y="306210"/>
                  </a:cubicBezTo>
                  <a:cubicBezTo>
                    <a:pt x="133970" y="312496"/>
                    <a:pt x="139113" y="317640"/>
                    <a:pt x="145400" y="317640"/>
                  </a:cubicBezTo>
                  <a:lnTo>
                    <a:pt x="254213" y="317640"/>
                  </a:lnTo>
                  <a:cubicBezTo>
                    <a:pt x="282960" y="317640"/>
                    <a:pt x="311020" y="295808"/>
                    <a:pt x="318164" y="267976"/>
                  </a:cubicBezTo>
                  <a:lnTo>
                    <a:pt x="371371" y="59607"/>
                  </a:lnTo>
                  <a:cubicBezTo>
                    <a:pt x="375085" y="45091"/>
                    <a:pt x="372571" y="31318"/>
                    <a:pt x="364341" y="2068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75" name="Forma libre: forma 374">
              <a:extLst>
                <a:ext uri="{FF2B5EF4-FFF2-40B4-BE49-F238E27FC236}">
                  <a16:creationId xmlns:a16="http://schemas.microsoft.com/office/drawing/2014/main" id="{D71E2E3A-A62F-4F69-9475-1C311B1D55CE}"/>
                </a:ext>
              </a:extLst>
            </p:cNvPr>
            <p:cNvSpPr/>
            <p:nvPr/>
          </p:nvSpPr>
          <p:spPr>
            <a:xfrm>
              <a:off x="2383079" y="3128377"/>
              <a:ext cx="234315" cy="28575"/>
            </a:xfrm>
            <a:custGeom>
              <a:avLst/>
              <a:gdLst>
                <a:gd name="connsiteX0" fmla="*/ 15716 w 234315"/>
                <a:gd name="connsiteY0" fmla="*/ 27146 h 28575"/>
                <a:gd name="connsiteX1" fmla="*/ 223514 w 234315"/>
                <a:gd name="connsiteY1" fmla="*/ 27146 h 28575"/>
                <a:gd name="connsiteX2" fmla="*/ 234944 w 234315"/>
                <a:gd name="connsiteY2" fmla="*/ 15716 h 28575"/>
                <a:gd name="connsiteX3" fmla="*/ 223514 w 234315"/>
                <a:gd name="connsiteY3" fmla="*/ 4286 h 28575"/>
                <a:gd name="connsiteX4" fmla="*/ 15716 w 234315"/>
                <a:gd name="connsiteY4" fmla="*/ 4286 h 28575"/>
                <a:gd name="connsiteX5" fmla="*/ 4286 w 234315"/>
                <a:gd name="connsiteY5" fmla="*/ 15716 h 28575"/>
                <a:gd name="connsiteX6" fmla="*/ 15716 w 234315"/>
                <a:gd name="connsiteY6" fmla="*/ 27146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315" h="28575">
                  <a:moveTo>
                    <a:pt x="15716" y="27146"/>
                  </a:moveTo>
                  <a:lnTo>
                    <a:pt x="223514" y="27146"/>
                  </a:lnTo>
                  <a:cubicBezTo>
                    <a:pt x="229800" y="27146"/>
                    <a:pt x="234944" y="22003"/>
                    <a:pt x="234944" y="15716"/>
                  </a:cubicBezTo>
                  <a:cubicBezTo>
                    <a:pt x="234944" y="9430"/>
                    <a:pt x="229800" y="4286"/>
                    <a:pt x="223514" y="4286"/>
                  </a:cubicBezTo>
                  <a:lnTo>
                    <a:pt x="15716" y="4286"/>
                  </a:lnTo>
                  <a:cubicBezTo>
                    <a:pt x="9430" y="4286"/>
                    <a:pt x="4286" y="9430"/>
                    <a:pt x="4286" y="15716"/>
                  </a:cubicBezTo>
                  <a:cubicBezTo>
                    <a:pt x="4286" y="22003"/>
                    <a:pt x="9430" y="27146"/>
                    <a:pt x="15716" y="2714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76" name="Forma libre: forma 375">
              <a:extLst>
                <a:ext uri="{FF2B5EF4-FFF2-40B4-BE49-F238E27FC236}">
                  <a16:creationId xmlns:a16="http://schemas.microsoft.com/office/drawing/2014/main" id="{3C08A409-285A-412D-BB78-95898899634C}"/>
                </a:ext>
              </a:extLst>
            </p:cNvPr>
            <p:cNvSpPr/>
            <p:nvPr/>
          </p:nvSpPr>
          <p:spPr>
            <a:xfrm>
              <a:off x="2415540" y="3193299"/>
              <a:ext cx="171450" cy="28575"/>
            </a:xfrm>
            <a:custGeom>
              <a:avLst/>
              <a:gdLst>
                <a:gd name="connsiteX0" fmla="*/ 158648 w 171450"/>
                <a:gd name="connsiteY0" fmla="*/ 4286 h 28575"/>
                <a:gd name="connsiteX1" fmla="*/ 15716 w 171450"/>
                <a:gd name="connsiteY1" fmla="*/ 4286 h 28575"/>
                <a:gd name="connsiteX2" fmla="*/ 4286 w 171450"/>
                <a:gd name="connsiteY2" fmla="*/ 15716 h 28575"/>
                <a:gd name="connsiteX3" fmla="*/ 15716 w 171450"/>
                <a:gd name="connsiteY3" fmla="*/ 27146 h 28575"/>
                <a:gd name="connsiteX4" fmla="*/ 158648 w 171450"/>
                <a:gd name="connsiteY4" fmla="*/ 27146 h 28575"/>
                <a:gd name="connsiteX5" fmla="*/ 170078 w 171450"/>
                <a:gd name="connsiteY5" fmla="*/ 15716 h 28575"/>
                <a:gd name="connsiteX6" fmla="*/ 158648 w 171450"/>
                <a:gd name="connsiteY6" fmla="*/ 4286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450" h="28575">
                  <a:moveTo>
                    <a:pt x="158648" y="4286"/>
                  </a:moveTo>
                  <a:lnTo>
                    <a:pt x="15716" y="4286"/>
                  </a:lnTo>
                  <a:cubicBezTo>
                    <a:pt x="9430" y="4286"/>
                    <a:pt x="4286" y="9430"/>
                    <a:pt x="4286" y="15716"/>
                  </a:cubicBezTo>
                  <a:cubicBezTo>
                    <a:pt x="4286" y="22003"/>
                    <a:pt x="9430" y="27146"/>
                    <a:pt x="15716" y="27146"/>
                  </a:cubicBezTo>
                  <a:lnTo>
                    <a:pt x="158648" y="27146"/>
                  </a:lnTo>
                  <a:cubicBezTo>
                    <a:pt x="164935" y="27146"/>
                    <a:pt x="170078" y="22003"/>
                    <a:pt x="170078" y="15716"/>
                  </a:cubicBezTo>
                  <a:cubicBezTo>
                    <a:pt x="170078" y="9430"/>
                    <a:pt x="164935" y="4286"/>
                    <a:pt x="158648" y="428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grpSp>
      <p:sp>
        <p:nvSpPr>
          <p:cNvPr id="377" name="CuadroTexto 376">
            <a:extLst>
              <a:ext uri="{FF2B5EF4-FFF2-40B4-BE49-F238E27FC236}">
                <a16:creationId xmlns:a16="http://schemas.microsoft.com/office/drawing/2014/main" id="{EE3502E0-A03C-4B47-B86E-7ABBABF630E5}"/>
              </a:ext>
            </a:extLst>
          </p:cNvPr>
          <p:cNvSpPr txBox="1"/>
          <p:nvPr/>
        </p:nvSpPr>
        <p:spPr>
          <a:xfrm>
            <a:off x="1339855" y="3628183"/>
            <a:ext cx="83298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074E8E"/>
                </a:solidFill>
                <a:effectLst/>
                <a:uLnTx/>
                <a:uFillTx/>
                <a:latin typeface="Calibri" panose="020F0502020204030204"/>
                <a:ea typeface="+mn-ea"/>
                <a:cs typeface="+mn-cs"/>
              </a:rPr>
              <a:t>LÍNEA 1</a:t>
            </a:r>
          </a:p>
        </p:txBody>
      </p:sp>
      <p:sp>
        <p:nvSpPr>
          <p:cNvPr id="378" name="CuadroTexto 377">
            <a:extLst>
              <a:ext uri="{FF2B5EF4-FFF2-40B4-BE49-F238E27FC236}">
                <a16:creationId xmlns:a16="http://schemas.microsoft.com/office/drawing/2014/main" id="{64CF1061-D961-4C98-A6F9-F49C8D8A716F}"/>
              </a:ext>
            </a:extLst>
          </p:cNvPr>
          <p:cNvSpPr txBox="1"/>
          <p:nvPr/>
        </p:nvSpPr>
        <p:spPr>
          <a:xfrm>
            <a:off x="195458" y="4526689"/>
            <a:ext cx="1780341" cy="49244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074E8E"/>
                </a:solidFill>
                <a:effectLst/>
                <a:highlight>
                  <a:srgbClr val="ECF5FE"/>
                </a:highlight>
                <a:uLnTx/>
                <a:uFillTx/>
                <a:latin typeface="Calibri" panose="020F0502020204030204"/>
                <a:ea typeface="+mn-ea"/>
                <a:cs typeface="+mn-cs"/>
              </a:rPr>
              <a:t>ADECUACIÓN</a:t>
            </a:r>
            <a:r>
              <a:rPr kumimoji="0" lang="es-ES" sz="1200" b="1" i="0" u="none" strike="noStrike" kern="1200" cap="none" spc="0" normalizeH="0" baseline="0" noProof="0" dirty="0">
                <a:ln>
                  <a:noFill/>
                </a:ln>
                <a:solidFill>
                  <a:srgbClr val="074E8E"/>
                </a:solidFill>
                <a:effectLst/>
                <a:uLnTx/>
                <a:uFillTx/>
                <a:latin typeface="Calibri" panose="020F0502020204030204"/>
                <a:ea typeface="+mn-ea"/>
                <a:cs typeface="+mn-cs"/>
              </a:rPr>
              <a:t> </a:t>
            </a:r>
            <a:r>
              <a:rPr lang="es-ES" sz="1200" dirty="0">
                <a:solidFill>
                  <a:srgbClr val="323C47"/>
                </a:solidFill>
                <a:latin typeface="Calibri" panose="020F0502020204030204"/>
              </a:rPr>
              <a:t>del puesto de trabajo. </a:t>
            </a:r>
          </a:p>
        </p:txBody>
      </p:sp>
      <p:sp>
        <p:nvSpPr>
          <p:cNvPr id="379" name="Forma libre: forma 378">
            <a:extLst>
              <a:ext uri="{FF2B5EF4-FFF2-40B4-BE49-F238E27FC236}">
                <a16:creationId xmlns:a16="http://schemas.microsoft.com/office/drawing/2014/main" id="{74A441A1-640B-4575-9730-56796B5F460C}"/>
              </a:ext>
            </a:extLst>
          </p:cNvPr>
          <p:cNvSpPr/>
          <p:nvPr/>
        </p:nvSpPr>
        <p:spPr>
          <a:xfrm>
            <a:off x="6585011" y="3429574"/>
            <a:ext cx="1092448" cy="1092447"/>
          </a:xfrm>
          <a:custGeom>
            <a:avLst/>
            <a:gdLst>
              <a:gd name="connsiteX0" fmla="*/ 1487424 w 1487424"/>
              <a:gd name="connsiteY0" fmla="*/ 743712 h 1487423"/>
              <a:gd name="connsiteX1" fmla="*/ 743712 w 1487424"/>
              <a:gd name="connsiteY1" fmla="*/ 1487424 h 1487423"/>
              <a:gd name="connsiteX2" fmla="*/ 0 w 1487424"/>
              <a:gd name="connsiteY2" fmla="*/ 743712 h 1487423"/>
              <a:gd name="connsiteX3" fmla="*/ 743712 w 1487424"/>
              <a:gd name="connsiteY3" fmla="*/ 0 h 1487423"/>
              <a:gd name="connsiteX4" fmla="*/ 1487424 w 1487424"/>
              <a:gd name="connsiteY4" fmla="*/ 743712 h 1487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7424" h="1487423">
                <a:moveTo>
                  <a:pt x="1487424" y="743712"/>
                </a:moveTo>
                <a:cubicBezTo>
                  <a:pt x="1487424" y="1154453"/>
                  <a:pt x="1154453" y="1487424"/>
                  <a:pt x="743712" y="1487424"/>
                </a:cubicBezTo>
                <a:cubicBezTo>
                  <a:pt x="332971" y="1487424"/>
                  <a:pt x="0" y="1154453"/>
                  <a:pt x="0" y="743712"/>
                </a:cubicBezTo>
                <a:cubicBezTo>
                  <a:pt x="0" y="332971"/>
                  <a:pt x="332971" y="0"/>
                  <a:pt x="743712" y="0"/>
                </a:cubicBezTo>
                <a:cubicBezTo>
                  <a:pt x="1154453" y="0"/>
                  <a:pt x="1487424" y="332971"/>
                  <a:pt x="1487424" y="743712"/>
                </a:cubicBezTo>
                <a:close/>
              </a:path>
            </a:pathLst>
          </a:custGeom>
          <a:solidFill>
            <a:schemeClr val="tx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sp>
        <p:nvSpPr>
          <p:cNvPr id="380" name="Forma libre: forma 379">
            <a:extLst>
              <a:ext uri="{FF2B5EF4-FFF2-40B4-BE49-F238E27FC236}">
                <a16:creationId xmlns:a16="http://schemas.microsoft.com/office/drawing/2014/main" id="{028211E4-EC7C-4714-A3F1-BD6EF139E057}"/>
              </a:ext>
            </a:extLst>
          </p:cNvPr>
          <p:cNvSpPr/>
          <p:nvPr/>
        </p:nvSpPr>
        <p:spPr>
          <a:xfrm>
            <a:off x="6694914" y="3539476"/>
            <a:ext cx="872643" cy="872643"/>
          </a:xfrm>
          <a:custGeom>
            <a:avLst/>
            <a:gdLst>
              <a:gd name="connsiteX0" fmla="*/ 0 w 1188148"/>
              <a:gd name="connsiteY0" fmla="*/ 594074 h 1188148"/>
              <a:gd name="connsiteX1" fmla="*/ 594074 w 1188148"/>
              <a:gd name="connsiteY1" fmla="*/ 0 h 1188148"/>
              <a:gd name="connsiteX2" fmla="*/ 1188148 w 1188148"/>
              <a:gd name="connsiteY2" fmla="*/ 594074 h 1188148"/>
              <a:gd name="connsiteX3" fmla="*/ 594074 w 1188148"/>
              <a:gd name="connsiteY3" fmla="*/ 1188149 h 1188148"/>
              <a:gd name="connsiteX4" fmla="*/ 0 w 1188148"/>
              <a:gd name="connsiteY4" fmla="*/ 594074 h 1188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148" h="1188148">
                <a:moveTo>
                  <a:pt x="0" y="594074"/>
                </a:moveTo>
                <a:cubicBezTo>
                  <a:pt x="0" y="266033"/>
                  <a:pt x="266033" y="0"/>
                  <a:pt x="594074" y="0"/>
                </a:cubicBezTo>
                <a:cubicBezTo>
                  <a:pt x="922211" y="0"/>
                  <a:pt x="1188148" y="266033"/>
                  <a:pt x="1188148" y="594074"/>
                </a:cubicBezTo>
                <a:cubicBezTo>
                  <a:pt x="1188148" y="922211"/>
                  <a:pt x="922115" y="1188149"/>
                  <a:pt x="594074" y="1188149"/>
                </a:cubicBezTo>
                <a:cubicBezTo>
                  <a:pt x="265938" y="1188149"/>
                  <a:pt x="0" y="922115"/>
                  <a:pt x="0" y="594074"/>
                </a:cubicBezTo>
                <a:close/>
              </a:path>
            </a:pathLst>
          </a:custGeom>
          <a:solidFill>
            <a:srgbClr val="FFFFFF"/>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a:ln>
                <a:noFill/>
              </a:ln>
              <a:solidFill>
                <a:srgbClr val="323C47"/>
              </a:solidFill>
              <a:effectLst/>
              <a:uLnTx/>
              <a:uFillTx/>
              <a:latin typeface="Calibri" panose="020F0502020204030204"/>
              <a:ea typeface="+mn-ea"/>
              <a:cs typeface="+mn-cs"/>
            </a:endParaRPr>
          </a:p>
        </p:txBody>
      </p:sp>
      <p:pic>
        <p:nvPicPr>
          <p:cNvPr id="381" name="Gráfico 380">
            <a:extLst>
              <a:ext uri="{FF2B5EF4-FFF2-40B4-BE49-F238E27FC236}">
                <a16:creationId xmlns:a16="http://schemas.microsoft.com/office/drawing/2014/main" id="{29BC75A6-DD34-494B-A6BE-28BE5578355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950830" y="3936215"/>
            <a:ext cx="398450" cy="394072"/>
          </a:xfrm>
          <a:prstGeom prst="rect">
            <a:avLst/>
          </a:prstGeom>
        </p:spPr>
      </p:pic>
      <p:sp>
        <p:nvSpPr>
          <p:cNvPr id="382" name="CuadroTexto 381">
            <a:extLst>
              <a:ext uri="{FF2B5EF4-FFF2-40B4-BE49-F238E27FC236}">
                <a16:creationId xmlns:a16="http://schemas.microsoft.com/office/drawing/2014/main" id="{5F7E8940-8F79-468D-BE9E-B9A9678FD025}"/>
              </a:ext>
            </a:extLst>
          </p:cNvPr>
          <p:cNvSpPr txBox="1"/>
          <p:nvPr/>
        </p:nvSpPr>
        <p:spPr>
          <a:xfrm>
            <a:off x="6740886" y="3622496"/>
            <a:ext cx="83298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074E8E"/>
                </a:solidFill>
                <a:effectLst/>
                <a:uLnTx/>
                <a:uFillTx/>
                <a:latin typeface="Calibri" panose="020F0502020204030204"/>
                <a:ea typeface="+mn-ea"/>
                <a:cs typeface="+mn-cs"/>
              </a:rPr>
              <a:t>LÍNEA 5</a:t>
            </a:r>
          </a:p>
        </p:txBody>
      </p:sp>
      <p:sp>
        <p:nvSpPr>
          <p:cNvPr id="383" name="CuadroTexto 382">
            <a:extLst>
              <a:ext uri="{FF2B5EF4-FFF2-40B4-BE49-F238E27FC236}">
                <a16:creationId xmlns:a16="http://schemas.microsoft.com/office/drawing/2014/main" id="{070E9A35-39EA-44D9-827A-F4BB049160A8}"/>
              </a:ext>
            </a:extLst>
          </p:cNvPr>
          <p:cNvSpPr txBox="1"/>
          <p:nvPr/>
        </p:nvSpPr>
        <p:spPr>
          <a:xfrm>
            <a:off x="7035818" y="4526689"/>
            <a:ext cx="1564485" cy="492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b="1" dirty="0">
                <a:solidFill>
                  <a:srgbClr val="074E8E"/>
                </a:solidFill>
                <a:highlight>
                  <a:srgbClr val="ECF5FE"/>
                </a:highlight>
                <a:latin typeface="Calibri" panose="020F0502020204030204"/>
              </a:rPr>
              <a:t>SEGURIDAD </a:t>
            </a:r>
            <a:r>
              <a:rPr lang="es-ES" sz="1200" dirty="0">
                <a:solidFill>
                  <a:srgbClr val="323C47"/>
                </a:solidFill>
                <a:latin typeface="Calibri" panose="020F0502020204030204"/>
              </a:rPr>
              <a:t>en el Puesto de trabajo.</a:t>
            </a:r>
          </a:p>
        </p:txBody>
      </p:sp>
      <p:sp>
        <p:nvSpPr>
          <p:cNvPr id="384" name="CuadroTexto 383">
            <a:extLst>
              <a:ext uri="{FF2B5EF4-FFF2-40B4-BE49-F238E27FC236}">
                <a16:creationId xmlns:a16="http://schemas.microsoft.com/office/drawing/2014/main" id="{6D0B5E12-5C1E-4D8B-B5E6-E578E1D72BE4}"/>
              </a:ext>
            </a:extLst>
          </p:cNvPr>
          <p:cNvSpPr txBox="1"/>
          <p:nvPr/>
        </p:nvSpPr>
        <p:spPr>
          <a:xfrm>
            <a:off x="3761751" y="3540448"/>
            <a:ext cx="1620499" cy="608885"/>
          </a:xfrm>
          <a:prstGeom prst="rect">
            <a:avLst/>
          </a:prstGeom>
          <a:noFill/>
        </p:spPr>
        <p:txBody>
          <a:bodyPr wrap="square">
            <a:spAutoFit/>
          </a:bodyPr>
          <a:lstStyle/>
          <a:p>
            <a:pPr marL="0" marR="0" lvl="0" indent="0" algn="ctr" defTabSz="914296" rtl="0" eaLnBrk="1" fontAlgn="auto" latinLnBrk="0" hangingPunct="1">
              <a:lnSpc>
                <a:spcPts val="2000"/>
              </a:lnSpc>
              <a:spcBef>
                <a:spcPts val="0"/>
              </a:spcBef>
              <a:spcAft>
                <a:spcPts val="0"/>
              </a:spcAft>
              <a:buClrTx/>
              <a:buSzTx/>
              <a:buFontTx/>
              <a:buNone/>
              <a:tabLst/>
              <a:defRPr/>
            </a:pPr>
            <a:r>
              <a:rPr kumimoji="0" lang="es-ES" sz="20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Times New Roman" panose="02020603050405020304" pitchFamily="18" charset="0"/>
              </a:rPr>
              <a:t>5 LÍNEAS DE ACTUACIÓN</a:t>
            </a:r>
            <a:endParaRPr kumimoji="0" lang="es-ES" sz="1800" b="1" i="0" u="none" strike="noStrike" kern="1200" cap="none" spc="0" normalizeH="0" baseline="0" noProof="0" dirty="0">
              <a:ln>
                <a:noFill/>
              </a:ln>
              <a:solidFill>
                <a:schemeClr val="tx2"/>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10" name="Marcador de número de diapositiva 1">
            <a:extLst>
              <a:ext uri="{FF2B5EF4-FFF2-40B4-BE49-F238E27FC236}">
                <a16:creationId xmlns:a16="http://schemas.microsoft.com/office/drawing/2014/main" id="{4EC6EF08-14D6-4C89-BE4E-53A91A1E4166}"/>
              </a:ext>
            </a:extLst>
          </p:cNvPr>
          <p:cNvSpPr txBox="1">
            <a:spLocks/>
          </p:cNvSpPr>
          <p:nvPr/>
        </p:nvSpPr>
        <p:spPr>
          <a:xfrm>
            <a:off x="6858714" y="6522290"/>
            <a:ext cx="2133600" cy="337038"/>
          </a:xfrm>
          <a:prstGeom prst="rect">
            <a:avLst/>
          </a:prstGeom>
        </p:spPr>
        <p:txBody>
          <a:bodyPr/>
          <a:lstStyle>
            <a:defPPr>
              <a:defRPr lang="es-ES"/>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44061">
              <a:defRPr/>
            </a:pPr>
            <a:fld id="{F72BFCD6-C37F-4D4F-B6AD-71D3A36D527F}" type="slidenum">
              <a:rPr lang="es-ES" smtClean="0">
                <a:latin typeface="+mj-lt"/>
              </a:rPr>
              <a:pPr defTabSz="844061">
                <a:defRPr/>
              </a:pPr>
              <a:t>5</a:t>
            </a:fld>
            <a:endParaRPr lang="es-ES" dirty="0">
              <a:latin typeface="+mj-lt"/>
            </a:endParaRPr>
          </a:p>
        </p:txBody>
      </p:sp>
    </p:spTree>
    <p:extLst>
      <p:ext uri="{BB962C8B-B14F-4D97-AF65-F5344CB8AC3E}">
        <p14:creationId xmlns:p14="http://schemas.microsoft.com/office/powerpoint/2010/main" val="16651171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9" name="5 Marcador de número de diapositiva">
            <a:extLst>
              <a:ext uri="{FF2B5EF4-FFF2-40B4-BE49-F238E27FC236}">
                <a16:creationId xmlns:a16="http://schemas.microsoft.com/office/drawing/2014/main" id="{047801AB-03E4-4F31-AF7C-CEE3BBD4C5DE}"/>
              </a:ext>
            </a:extLst>
          </p:cNvPr>
          <p:cNvSpPr>
            <a:spLocks noGrp="1"/>
          </p:cNvSpPr>
          <p:nvPr>
            <p:ph type="sldNum" sz="quarter" idx="12"/>
          </p:nvPr>
        </p:nvSpPr>
        <p:spPr/>
        <p:txBody>
          <a:bodyPr/>
          <a:lstStyle/>
          <a:p>
            <a:fld id="{F72BFCD6-C37F-4D4F-B6AD-71D3A36D527F}" type="slidenum">
              <a:rPr lang="es-ES"/>
              <a:pPr/>
              <a:t>6</a:t>
            </a:fld>
            <a:endParaRPr lang="es-ES"/>
          </a:p>
        </p:txBody>
      </p:sp>
      <p:sp>
        <p:nvSpPr>
          <p:cNvPr id="4" name="Rectángulo 3">
            <a:extLst>
              <a:ext uri="{FF2B5EF4-FFF2-40B4-BE49-F238E27FC236}">
                <a16:creationId xmlns:a16="http://schemas.microsoft.com/office/drawing/2014/main" id="{21D244A1-029D-494D-BE11-C14D881F157E}"/>
              </a:ext>
            </a:extLst>
          </p:cNvPr>
          <p:cNvSpPr/>
          <p:nvPr/>
        </p:nvSpPr>
        <p:spPr>
          <a:xfrm>
            <a:off x="351692" y="865477"/>
            <a:ext cx="8440616" cy="584775"/>
          </a:xfrm>
          <a:prstGeom prst="rect">
            <a:avLst/>
          </a:prstGeom>
          <a:solidFill>
            <a:schemeClr val="bg1"/>
          </a:solidFill>
        </p:spPr>
        <p:txBody>
          <a:bodyPr wrap="square">
            <a:spAutoFit/>
          </a:bodyPr>
          <a:lstStyle/>
          <a:p>
            <a:pPr algn="just"/>
            <a:r>
              <a:rPr lang="es-ES" sz="1600" dirty="0">
                <a:latin typeface="+mj-lt"/>
                <a:ea typeface="+mn-lt"/>
                <a:cs typeface="+mn-lt"/>
              </a:rPr>
              <a:t>Las </a:t>
            </a:r>
            <a:r>
              <a:rPr lang="es-ES" sz="1600" b="1" dirty="0">
                <a:latin typeface="+mj-lt"/>
                <a:ea typeface="+mn-lt"/>
                <a:cs typeface="+mn-lt"/>
              </a:rPr>
              <a:t>soluciones TIC </a:t>
            </a:r>
            <a:r>
              <a:rPr lang="es-ES" sz="1600" dirty="0">
                <a:latin typeface="+mj-lt"/>
                <a:ea typeface="+mn-lt"/>
                <a:cs typeface="+mn-lt"/>
              </a:rPr>
              <a:t>que ha puesto en marcha el Ministerio de Justicia </a:t>
            </a:r>
            <a:r>
              <a:rPr lang="es-ES" sz="1600" b="1" dirty="0">
                <a:latin typeface="+mj-lt"/>
                <a:ea typeface="+mn-lt"/>
                <a:cs typeface="+mn-lt"/>
              </a:rPr>
              <a:t>permiten que los usuarios dispongan de las herramientas tecnológicas necesarias para teletrabajar:</a:t>
            </a:r>
          </a:p>
        </p:txBody>
      </p:sp>
      <p:cxnSp>
        <p:nvCxnSpPr>
          <p:cNvPr id="5" name="Conector recto 4">
            <a:extLst>
              <a:ext uri="{FF2B5EF4-FFF2-40B4-BE49-F238E27FC236}">
                <a16:creationId xmlns:a16="http://schemas.microsoft.com/office/drawing/2014/main" id="{3695E777-7843-4BC7-9137-EE952994C4E4}"/>
              </a:ext>
            </a:extLst>
          </p:cNvPr>
          <p:cNvCxnSpPr>
            <a:cxnSpLocks/>
          </p:cNvCxnSpPr>
          <p:nvPr/>
        </p:nvCxnSpPr>
        <p:spPr>
          <a:xfrm>
            <a:off x="4572000" y="1541674"/>
            <a:ext cx="0" cy="4405018"/>
          </a:xfrm>
          <a:prstGeom prst="line">
            <a:avLst/>
          </a:prstGeom>
          <a:ln w="19050">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2391A2D6-9960-4341-8546-0B79CED4D25C}"/>
              </a:ext>
            </a:extLst>
          </p:cNvPr>
          <p:cNvCxnSpPr>
            <a:cxnSpLocks/>
          </p:cNvCxnSpPr>
          <p:nvPr/>
        </p:nvCxnSpPr>
        <p:spPr>
          <a:xfrm rot="16200000">
            <a:off x="4572000" y="-417414"/>
            <a:ext cx="0" cy="8440615"/>
          </a:xfrm>
          <a:prstGeom prst="line">
            <a:avLst/>
          </a:prstGeom>
          <a:ln w="19050">
            <a:solidFill>
              <a:schemeClr val="bg1"/>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grpSp>
        <p:nvGrpSpPr>
          <p:cNvPr id="7" name="Grupo 6">
            <a:extLst>
              <a:ext uri="{FF2B5EF4-FFF2-40B4-BE49-F238E27FC236}">
                <a16:creationId xmlns:a16="http://schemas.microsoft.com/office/drawing/2014/main" id="{CB5ED7B2-0C96-4BA8-B797-A8E89D1234E5}"/>
              </a:ext>
            </a:extLst>
          </p:cNvPr>
          <p:cNvGrpSpPr/>
          <p:nvPr/>
        </p:nvGrpSpPr>
        <p:grpSpPr>
          <a:xfrm>
            <a:off x="80534" y="1710294"/>
            <a:ext cx="902144" cy="664843"/>
            <a:chOff x="478650" y="1953523"/>
            <a:chExt cx="832889" cy="613805"/>
          </a:xfrm>
        </p:grpSpPr>
        <p:sp>
          <p:nvSpPr>
            <p:cNvPr id="8" name="Forma libre: forma 7">
              <a:extLst>
                <a:ext uri="{FF2B5EF4-FFF2-40B4-BE49-F238E27FC236}">
                  <a16:creationId xmlns:a16="http://schemas.microsoft.com/office/drawing/2014/main" id="{DC5F522E-1944-4862-9256-46213B84BA97}"/>
                </a:ext>
              </a:extLst>
            </p:cNvPr>
            <p:cNvSpPr/>
            <p:nvPr/>
          </p:nvSpPr>
          <p:spPr>
            <a:xfrm rot="6936053">
              <a:off x="588192" y="1843981"/>
              <a:ext cx="613805" cy="832889"/>
            </a:xfrm>
            <a:custGeom>
              <a:avLst/>
              <a:gdLst>
                <a:gd name="connsiteX0" fmla="*/ 727473 w 755448"/>
                <a:gd name="connsiteY0" fmla="*/ 966023 h 1025087"/>
                <a:gd name="connsiteX1" fmla="*/ 625930 w 755448"/>
                <a:gd name="connsiteY1" fmla="*/ 662435 h 1025087"/>
                <a:gd name="connsiteX2" fmla="*/ 723127 w 755448"/>
                <a:gd name="connsiteY2" fmla="*/ 225050 h 1025087"/>
                <a:gd name="connsiteX3" fmla="*/ 225085 w 755448"/>
                <a:gd name="connsiteY3" fmla="*/ 32309 h 1025087"/>
                <a:gd name="connsiteX4" fmla="*/ 32344 w 755448"/>
                <a:gd name="connsiteY4" fmla="*/ 530351 h 1025087"/>
                <a:gd name="connsiteX5" fmla="*/ 436311 w 755448"/>
                <a:gd name="connsiteY5" fmla="*/ 750818 h 1025087"/>
                <a:gd name="connsiteX6" fmla="*/ 584983 w 755448"/>
                <a:gd name="connsiteY6" fmla="*/ 1025087 h 1025087"/>
                <a:gd name="connsiteX7" fmla="*/ 727473 w 755448"/>
                <a:gd name="connsiteY7" fmla="*/ 966023 h 1025087"/>
                <a:gd name="connsiteX8" fmla="*/ 727473 w 755448"/>
                <a:gd name="connsiteY8" fmla="*/ 966023 h 10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5448" h="1025087">
                  <a:moveTo>
                    <a:pt x="727473" y="966023"/>
                  </a:moveTo>
                  <a:cubicBezTo>
                    <a:pt x="606466" y="936337"/>
                    <a:pt x="539445" y="752532"/>
                    <a:pt x="625930" y="662435"/>
                  </a:cubicBezTo>
                  <a:cubicBezTo>
                    <a:pt x="747426" y="556608"/>
                    <a:pt x="791679" y="380148"/>
                    <a:pt x="723127" y="225050"/>
                  </a:cubicBezTo>
                  <a:cubicBezTo>
                    <a:pt x="638845" y="34328"/>
                    <a:pt x="415867" y="-51974"/>
                    <a:pt x="225085" y="32309"/>
                  </a:cubicBezTo>
                  <a:cubicBezTo>
                    <a:pt x="34303" y="116591"/>
                    <a:pt x="-51999" y="339568"/>
                    <a:pt x="32344" y="530351"/>
                  </a:cubicBezTo>
                  <a:cubicBezTo>
                    <a:pt x="103038" y="690346"/>
                    <a:pt x="271296" y="776831"/>
                    <a:pt x="436311" y="750818"/>
                  </a:cubicBezTo>
                  <a:cubicBezTo>
                    <a:pt x="552237" y="754919"/>
                    <a:pt x="637253" y="918526"/>
                    <a:pt x="584983" y="1025087"/>
                  </a:cubicBezTo>
                  <a:cubicBezTo>
                    <a:pt x="628684" y="998707"/>
                    <a:pt x="676610" y="978631"/>
                    <a:pt x="727473" y="966023"/>
                  </a:cubicBezTo>
                  <a:lnTo>
                    <a:pt x="727473" y="966023"/>
                  </a:lnTo>
                  <a:close/>
                </a:path>
              </a:pathLst>
            </a:custGeom>
            <a:solidFill>
              <a:schemeClr val="bg2"/>
            </a:solidFill>
            <a:ln w="6108" cap="flat">
              <a:noFill/>
              <a:prstDash val="solid"/>
              <a:miter/>
            </a:ln>
          </p:spPr>
          <p:txBody>
            <a:bodyPr rtlCol="0" anchor="ctr"/>
            <a:lstStyle/>
            <a:p>
              <a:endParaRPr lang="es-ES" sz="1417"/>
            </a:p>
          </p:txBody>
        </p:sp>
        <p:pic>
          <p:nvPicPr>
            <p:cNvPr id="9" name="Imagen 8">
              <a:extLst>
                <a:ext uri="{FF2B5EF4-FFF2-40B4-BE49-F238E27FC236}">
                  <a16:creationId xmlns:a16="http://schemas.microsoft.com/office/drawing/2014/main" id="{26EECAB4-9A43-42B5-A89B-497C29CA464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6536" y="2107301"/>
              <a:ext cx="425785" cy="351244"/>
            </a:xfrm>
            <a:prstGeom prst="rect">
              <a:avLst/>
            </a:prstGeom>
          </p:spPr>
        </p:pic>
      </p:grpSp>
      <p:grpSp>
        <p:nvGrpSpPr>
          <p:cNvPr id="10" name="Grupo 9">
            <a:extLst>
              <a:ext uri="{FF2B5EF4-FFF2-40B4-BE49-F238E27FC236}">
                <a16:creationId xmlns:a16="http://schemas.microsoft.com/office/drawing/2014/main" id="{E7812699-B543-4FD0-9E92-35F900CF5605}"/>
              </a:ext>
            </a:extLst>
          </p:cNvPr>
          <p:cNvGrpSpPr/>
          <p:nvPr/>
        </p:nvGrpSpPr>
        <p:grpSpPr>
          <a:xfrm>
            <a:off x="80534" y="3841284"/>
            <a:ext cx="902144" cy="664843"/>
            <a:chOff x="54706" y="4348403"/>
            <a:chExt cx="1182560" cy="871498"/>
          </a:xfrm>
        </p:grpSpPr>
        <p:sp>
          <p:nvSpPr>
            <p:cNvPr id="11" name="Forma libre: forma 10">
              <a:extLst>
                <a:ext uri="{FF2B5EF4-FFF2-40B4-BE49-F238E27FC236}">
                  <a16:creationId xmlns:a16="http://schemas.microsoft.com/office/drawing/2014/main" id="{789E5D47-363B-43CD-9DA4-10B2FE0C9E0A}"/>
                </a:ext>
              </a:extLst>
            </p:cNvPr>
            <p:cNvSpPr/>
            <p:nvPr/>
          </p:nvSpPr>
          <p:spPr>
            <a:xfrm rot="6936053">
              <a:off x="210237" y="4192872"/>
              <a:ext cx="871498" cy="1182560"/>
            </a:xfrm>
            <a:custGeom>
              <a:avLst/>
              <a:gdLst>
                <a:gd name="connsiteX0" fmla="*/ 727473 w 755448"/>
                <a:gd name="connsiteY0" fmla="*/ 966023 h 1025087"/>
                <a:gd name="connsiteX1" fmla="*/ 625930 w 755448"/>
                <a:gd name="connsiteY1" fmla="*/ 662435 h 1025087"/>
                <a:gd name="connsiteX2" fmla="*/ 723127 w 755448"/>
                <a:gd name="connsiteY2" fmla="*/ 225050 h 1025087"/>
                <a:gd name="connsiteX3" fmla="*/ 225085 w 755448"/>
                <a:gd name="connsiteY3" fmla="*/ 32309 h 1025087"/>
                <a:gd name="connsiteX4" fmla="*/ 32344 w 755448"/>
                <a:gd name="connsiteY4" fmla="*/ 530351 h 1025087"/>
                <a:gd name="connsiteX5" fmla="*/ 436311 w 755448"/>
                <a:gd name="connsiteY5" fmla="*/ 750818 h 1025087"/>
                <a:gd name="connsiteX6" fmla="*/ 584983 w 755448"/>
                <a:gd name="connsiteY6" fmla="*/ 1025087 h 1025087"/>
                <a:gd name="connsiteX7" fmla="*/ 727473 w 755448"/>
                <a:gd name="connsiteY7" fmla="*/ 966023 h 1025087"/>
                <a:gd name="connsiteX8" fmla="*/ 727473 w 755448"/>
                <a:gd name="connsiteY8" fmla="*/ 966023 h 10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5448" h="1025087">
                  <a:moveTo>
                    <a:pt x="727473" y="966023"/>
                  </a:moveTo>
                  <a:cubicBezTo>
                    <a:pt x="606466" y="936337"/>
                    <a:pt x="539445" y="752532"/>
                    <a:pt x="625930" y="662435"/>
                  </a:cubicBezTo>
                  <a:cubicBezTo>
                    <a:pt x="747426" y="556608"/>
                    <a:pt x="791679" y="380148"/>
                    <a:pt x="723127" y="225050"/>
                  </a:cubicBezTo>
                  <a:cubicBezTo>
                    <a:pt x="638845" y="34328"/>
                    <a:pt x="415867" y="-51974"/>
                    <a:pt x="225085" y="32309"/>
                  </a:cubicBezTo>
                  <a:cubicBezTo>
                    <a:pt x="34303" y="116591"/>
                    <a:pt x="-51999" y="339568"/>
                    <a:pt x="32344" y="530351"/>
                  </a:cubicBezTo>
                  <a:cubicBezTo>
                    <a:pt x="103038" y="690346"/>
                    <a:pt x="271296" y="776831"/>
                    <a:pt x="436311" y="750818"/>
                  </a:cubicBezTo>
                  <a:cubicBezTo>
                    <a:pt x="552237" y="754919"/>
                    <a:pt x="637253" y="918526"/>
                    <a:pt x="584983" y="1025087"/>
                  </a:cubicBezTo>
                  <a:cubicBezTo>
                    <a:pt x="628684" y="998707"/>
                    <a:pt x="676610" y="978631"/>
                    <a:pt x="727473" y="966023"/>
                  </a:cubicBezTo>
                  <a:lnTo>
                    <a:pt x="727473" y="966023"/>
                  </a:lnTo>
                  <a:close/>
                </a:path>
              </a:pathLst>
            </a:custGeom>
            <a:solidFill>
              <a:schemeClr val="accent5"/>
            </a:solidFill>
            <a:ln w="6108" cap="flat">
              <a:noFill/>
              <a:prstDash val="solid"/>
              <a:miter/>
            </a:ln>
          </p:spPr>
          <p:txBody>
            <a:bodyPr rtlCol="0" anchor="ctr"/>
            <a:lstStyle/>
            <a:p>
              <a:endParaRPr lang="es-ES" sz="1417"/>
            </a:p>
          </p:txBody>
        </p:sp>
        <p:pic>
          <p:nvPicPr>
            <p:cNvPr id="12" name="Imagen 11">
              <a:extLst>
                <a:ext uri="{FF2B5EF4-FFF2-40B4-BE49-F238E27FC236}">
                  <a16:creationId xmlns:a16="http://schemas.microsoft.com/office/drawing/2014/main" id="{896D92F1-8FA8-4E76-9C74-F7F41B95D2C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15925" y="4580216"/>
              <a:ext cx="637894" cy="597054"/>
            </a:xfrm>
            <a:prstGeom prst="rect">
              <a:avLst/>
            </a:prstGeom>
          </p:spPr>
        </p:pic>
      </p:grpSp>
      <p:grpSp>
        <p:nvGrpSpPr>
          <p:cNvPr id="13" name="Grupo 12">
            <a:extLst>
              <a:ext uri="{FF2B5EF4-FFF2-40B4-BE49-F238E27FC236}">
                <a16:creationId xmlns:a16="http://schemas.microsoft.com/office/drawing/2014/main" id="{3E031092-C1EC-47B6-8EE6-35177E5452B7}"/>
              </a:ext>
            </a:extLst>
          </p:cNvPr>
          <p:cNvGrpSpPr/>
          <p:nvPr/>
        </p:nvGrpSpPr>
        <p:grpSpPr>
          <a:xfrm flipH="1">
            <a:off x="4753241" y="1730205"/>
            <a:ext cx="902144" cy="664843"/>
            <a:chOff x="8614306" y="1760901"/>
            <a:chExt cx="1182560" cy="871498"/>
          </a:xfrm>
        </p:grpSpPr>
        <p:sp>
          <p:nvSpPr>
            <p:cNvPr id="14" name="Forma libre: forma 13">
              <a:extLst>
                <a:ext uri="{FF2B5EF4-FFF2-40B4-BE49-F238E27FC236}">
                  <a16:creationId xmlns:a16="http://schemas.microsoft.com/office/drawing/2014/main" id="{1974CFDD-16B4-4EC8-AEAF-308D80F9FCF3}"/>
                </a:ext>
              </a:extLst>
            </p:cNvPr>
            <p:cNvSpPr/>
            <p:nvPr/>
          </p:nvSpPr>
          <p:spPr>
            <a:xfrm rot="14663947" flipH="1">
              <a:off x="8769837" y="1605370"/>
              <a:ext cx="871498" cy="1182560"/>
            </a:xfrm>
            <a:custGeom>
              <a:avLst/>
              <a:gdLst>
                <a:gd name="connsiteX0" fmla="*/ 727473 w 755448"/>
                <a:gd name="connsiteY0" fmla="*/ 966023 h 1025087"/>
                <a:gd name="connsiteX1" fmla="*/ 625930 w 755448"/>
                <a:gd name="connsiteY1" fmla="*/ 662435 h 1025087"/>
                <a:gd name="connsiteX2" fmla="*/ 723127 w 755448"/>
                <a:gd name="connsiteY2" fmla="*/ 225050 h 1025087"/>
                <a:gd name="connsiteX3" fmla="*/ 225085 w 755448"/>
                <a:gd name="connsiteY3" fmla="*/ 32309 h 1025087"/>
                <a:gd name="connsiteX4" fmla="*/ 32344 w 755448"/>
                <a:gd name="connsiteY4" fmla="*/ 530351 h 1025087"/>
                <a:gd name="connsiteX5" fmla="*/ 436311 w 755448"/>
                <a:gd name="connsiteY5" fmla="*/ 750818 h 1025087"/>
                <a:gd name="connsiteX6" fmla="*/ 584983 w 755448"/>
                <a:gd name="connsiteY6" fmla="*/ 1025087 h 1025087"/>
                <a:gd name="connsiteX7" fmla="*/ 727473 w 755448"/>
                <a:gd name="connsiteY7" fmla="*/ 966023 h 1025087"/>
                <a:gd name="connsiteX8" fmla="*/ 727473 w 755448"/>
                <a:gd name="connsiteY8" fmla="*/ 966023 h 10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5448" h="1025087">
                  <a:moveTo>
                    <a:pt x="727473" y="966023"/>
                  </a:moveTo>
                  <a:cubicBezTo>
                    <a:pt x="606466" y="936337"/>
                    <a:pt x="539445" y="752532"/>
                    <a:pt x="625930" y="662435"/>
                  </a:cubicBezTo>
                  <a:cubicBezTo>
                    <a:pt x="747426" y="556608"/>
                    <a:pt x="791679" y="380148"/>
                    <a:pt x="723127" y="225050"/>
                  </a:cubicBezTo>
                  <a:cubicBezTo>
                    <a:pt x="638845" y="34328"/>
                    <a:pt x="415867" y="-51974"/>
                    <a:pt x="225085" y="32309"/>
                  </a:cubicBezTo>
                  <a:cubicBezTo>
                    <a:pt x="34303" y="116591"/>
                    <a:pt x="-51999" y="339568"/>
                    <a:pt x="32344" y="530351"/>
                  </a:cubicBezTo>
                  <a:cubicBezTo>
                    <a:pt x="103038" y="690346"/>
                    <a:pt x="271296" y="776831"/>
                    <a:pt x="436311" y="750818"/>
                  </a:cubicBezTo>
                  <a:cubicBezTo>
                    <a:pt x="552237" y="754919"/>
                    <a:pt x="637253" y="918526"/>
                    <a:pt x="584983" y="1025087"/>
                  </a:cubicBezTo>
                  <a:cubicBezTo>
                    <a:pt x="628684" y="998707"/>
                    <a:pt x="676610" y="978631"/>
                    <a:pt x="727473" y="966023"/>
                  </a:cubicBezTo>
                  <a:lnTo>
                    <a:pt x="727473" y="966023"/>
                  </a:lnTo>
                  <a:close/>
                </a:path>
              </a:pathLst>
            </a:custGeom>
            <a:solidFill>
              <a:schemeClr val="accent1"/>
            </a:solidFill>
            <a:ln w="6108" cap="flat">
              <a:noFill/>
              <a:prstDash val="solid"/>
              <a:miter/>
            </a:ln>
          </p:spPr>
          <p:txBody>
            <a:bodyPr rtlCol="0" anchor="ctr"/>
            <a:lstStyle/>
            <a:p>
              <a:endParaRPr lang="es-ES" sz="1417"/>
            </a:p>
          </p:txBody>
        </p:sp>
        <p:pic>
          <p:nvPicPr>
            <p:cNvPr id="15" name="Gráfico 14">
              <a:extLst>
                <a:ext uri="{FF2B5EF4-FFF2-40B4-BE49-F238E27FC236}">
                  <a16:creationId xmlns:a16="http://schemas.microsoft.com/office/drawing/2014/main" id="{6D864096-A1A4-4927-8C70-B06EA9212E2C}"/>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733042" y="1957968"/>
              <a:ext cx="610512" cy="570492"/>
            </a:xfrm>
            <a:prstGeom prst="rect">
              <a:avLst/>
            </a:prstGeom>
          </p:spPr>
        </p:pic>
      </p:grpSp>
      <p:grpSp>
        <p:nvGrpSpPr>
          <p:cNvPr id="16" name="Grupo 15">
            <a:extLst>
              <a:ext uri="{FF2B5EF4-FFF2-40B4-BE49-F238E27FC236}">
                <a16:creationId xmlns:a16="http://schemas.microsoft.com/office/drawing/2014/main" id="{4CD0E8BB-7813-44D6-AC67-6AB60166817D}"/>
              </a:ext>
            </a:extLst>
          </p:cNvPr>
          <p:cNvGrpSpPr/>
          <p:nvPr/>
        </p:nvGrpSpPr>
        <p:grpSpPr>
          <a:xfrm flipH="1">
            <a:off x="4753241" y="3851135"/>
            <a:ext cx="902144" cy="664843"/>
            <a:chOff x="8668734" y="4419523"/>
            <a:chExt cx="1182560" cy="871498"/>
          </a:xfrm>
        </p:grpSpPr>
        <p:sp>
          <p:nvSpPr>
            <p:cNvPr id="17" name="Forma libre: forma 16">
              <a:extLst>
                <a:ext uri="{FF2B5EF4-FFF2-40B4-BE49-F238E27FC236}">
                  <a16:creationId xmlns:a16="http://schemas.microsoft.com/office/drawing/2014/main" id="{EEC1F55E-93F0-4B4A-ADC7-DB2ABDDE1F2A}"/>
                </a:ext>
              </a:extLst>
            </p:cNvPr>
            <p:cNvSpPr/>
            <p:nvPr/>
          </p:nvSpPr>
          <p:spPr>
            <a:xfrm rot="14663947" flipH="1">
              <a:off x="8824265" y="4263992"/>
              <a:ext cx="871498" cy="1182560"/>
            </a:xfrm>
            <a:custGeom>
              <a:avLst/>
              <a:gdLst>
                <a:gd name="connsiteX0" fmla="*/ 727473 w 755448"/>
                <a:gd name="connsiteY0" fmla="*/ 966023 h 1025087"/>
                <a:gd name="connsiteX1" fmla="*/ 625930 w 755448"/>
                <a:gd name="connsiteY1" fmla="*/ 662435 h 1025087"/>
                <a:gd name="connsiteX2" fmla="*/ 723127 w 755448"/>
                <a:gd name="connsiteY2" fmla="*/ 225050 h 1025087"/>
                <a:gd name="connsiteX3" fmla="*/ 225085 w 755448"/>
                <a:gd name="connsiteY3" fmla="*/ 32309 h 1025087"/>
                <a:gd name="connsiteX4" fmla="*/ 32344 w 755448"/>
                <a:gd name="connsiteY4" fmla="*/ 530351 h 1025087"/>
                <a:gd name="connsiteX5" fmla="*/ 436311 w 755448"/>
                <a:gd name="connsiteY5" fmla="*/ 750818 h 1025087"/>
                <a:gd name="connsiteX6" fmla="*/ 584983 w 755448"/>
                <a:gd name="connsiteY6" fmla="*/ 1025087 h 1025087"/>
                <a:gd name="connsiteX7" fmla="*/ 727473 w 755448"/>
                <a:gd name="connsiteY7" fmla="*/ 966023 h 1025087"/>
                <a:gd name="connsiteX8" fmla="*/ 727473 w 755448"/>
                <a:gd name="connsiteY8" fmla="*/ 966023 h 102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5448" h="1025087">
                  <a:moveTo>
                    <a:pt x="727473" y="966023"/>
                  </a:moveTo>
                  <a:cubicBezTo>
                    <a:pt x="606466" y="936337"/>
                    <a:pt x="539445" y="752532"/>
                    <a:pt x="625930" y="662435"/>
                  </a:cubicBezTo>
                  <a:cubicBezTo>
                    <a:pt x="747426" y="556608"/>
                    <a:pt x="791679" y="380148"/>
                    <a:pt x="723127" y="225050"/>
                  </a:cubicBezTo>
                  <a:cubicBezTo>
                    <a:pt x="638845" y="34328"/>
                    <a:pt x="415867" y="-51974"/>
                    <a:pt x="225085" y="32309"/>
                  </a:cubicBezTo>
                  <a:cubicBezTo>
                    <a:pt x="34303" y="116591"/>
                    <a:pt x="-51999" y="339568"/>
                    <a:pt x="32344" y="530351"/>
                  </a:cubicBezTo>
                  <a:cubicBezTo>
                    <a:pt x="103038" y="690346"/>
                    <a:pt x="271296" y="776831"/>
                    <a:pt x="436311" y="750818"/>
                  </a:cubicBezTo>
                  <a:cubicBezTo>
                    <a:pt x="552237" y="754919"/>
                    <a:pt x="637253" y="918526"/>
                    <a:pt x="584983" y="1025087"/>
                  </a:cubicBezTo>
                  <a:cubicBezTo>
                    <a:pt x="628684" y="998707"/>
                    <a:pt x="676610" y="978631"/>
                    <a:pt x="727473" y="966023"/>
                  </a:cubicBezTo>
                  <a:lnTo>
                    <a:pt x="727473" y="966023"/>
                  </a:lnTo>
                  <a:close/>
                </a:path>
              </a:pathLst>
            </a:custGeom>
            <a:solidFill>
              <a:schemeClr val="accent6">
                <a:lumMod val="75000"/>
              </a:schemeClr>
            </a:solidFill>
            <a:ln w="6108" cap="flat">
              <a:noFill/>
              <a:prstDash val="solid"/>
              <a:miter/>
            </a:ln>
          </p:spPr>
          <p:txBody>
            <a:bodyPr rtlCol="0" anchor="ctr"/>
            <a:lstStyle/>
            <a:p>
              <a:endParaRPr lang="es-ES" sz="1417"/>
            </a:p>
          </p:txBody>
        </p:sp>
        <p:pic>
          <p:nvPicPr>
            <p:cNvPr id="18" name="Imagen 17">
              <a:extLst>
                <a:ext uri="{FF2B5EF4-FFF2-40B4-BE49-F238E27FC236}">
                  <a16:creationId xmlns:a16="http://schemas.microsoft.com/office/drawing/2014/main" id="{BEFAAEAF-B21C-4580-BEE5-EA6761838DF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850908" y="4737528"/>
              <a:ext cx="623548" cy="448408"/>
            </a:xfrm>
            <a:prstGeom prst="rect">
              <a:avLst/>
            </a:prstGeom>
          </p:spPr>
        </p:pic>
      </p:grpSp>
      <p:sp>
        <p:nvSpPr>
          <p:cNvPr id="19" name="Rectángulo 18">
            <a:extLst>
              <a:ext uri="{FF2B5EF4-FFF2-40B4-BE49-F238E27FC236}">
                <a16:creationId xmlns:a16="http://schemas.microsoft.com/office/drawing/2014/main" id="{3F3796FC-D810-495D-9797-E04FE4166A69}"/>
              </a:ext>
            </a:extLst>
          </p:cNvPr>
          <p:cNvSpPr/>
          <p:nvPr/>
        </p:nvSpPr>
        <p:spPr>
          <a:xfrm>
            <a:off x="982680" y="1967174"/>
            <a:ext cx="3670723" cy="1169551"/>
          </a:xfrm>
          <a:prstGeom prst="rect">
            <a:avLst/>
          </a:prstGeom>
        </p:spPr>
        <p:txBody>
          <a:bodyPr wrap="square">
            <a:spAutoFit/>
          </a:bodyPr>
          <a:lstStyle/>
          <a:p>
            <a:pPr>
              <a:buClr>
                <a:srgbClr val="0070C0"/>
              </a:buClr>
            </a:pPr>
            <a:r>
              <a:rPr lang="es-ES" sz="1400" dirty="0">
                <a:latin typeface="Arial Narrow" panose="020B0606020202030204" pitchFamily="34" charset="0"/>
              </a:rPr>
              <a:t>Los usuarios acceden a un escritorio de Windows que se ejecuta en el Centro de Proceso de Datos del Ministerio de Justicia de forma segura. Simula que el profesional está trabajando conectado a la red de su Sede.</a:t>
            </a:r>
          </a:p>
        </p:txBody>
      </p:sp>
      <p:sp>
        <p:nvSpPr>
          <p:cNvPr id="20" name="CuadroTexto 19">
            <a:extLst>
              <a:ext uri="{FF2B5EF4-FFF2-40B4-BE49-F238E27FC236}">
                <a16:creationId xmlns:a16="http://schemas.microsoft.com/office/drawing/2014/main" id="{79A65B58-7B66-471D-BD9E-DA0A8BF1689D}"/>
              </a:ext>
            </a:extLst>
          </p:cNvPr>
          <p:cNvSpPr txBox="1"/>
          <p:nvPr/>
        </p:nvSpPr>
        <p:spPr>
          <a:xfrm>
            <a:off x="982886" y="1761642"/>
            <a:ext cx="2046368" cy="259238"/>
          </a:xfrm>
          <a:prstGeom prst="rect">
            <a:avLst/>
          </a:prstGeom>
          <a:noFill/>
        </p:spPr>
        <p:txBody>
          <a:bodyPr wrap="square" rtlCol="0">
            <a:spAutoFit/>
          </a:bodyPr>
          <a:lstStyle/>
          <a:p>
            <a:pPr>
              <a:lnSpc>
                <a:spcPts val="1292"/>
              </a:lnSpc>
            </a:pPr>
            <a:r>
              <a:rPr lang="es-ES" sz="1477" b="1" dirty="0">
                <a:solidFill>
                  <a:schemeClr val="tx2"/>
                </a:solidFill>
                <a:latin typeface="Arial Narrow" panose="020B0606020202030204" pitchFamily="34" charset="0"/>
              </a:rPr>
              <a:t>Escritorio Virtual</a:t>
            </a:r>
          </a:p>
        </p:txBody>
      </p:sp>
      <p:sp>
        <p:nvSpPr>
          <p:cNvPr id="21" name="CuadroTexto 20">
            <a:extLst>
              <a:ext uri="{FF2B5EF4-FFF2-40B4-BE49-F238E27FC236}">
                <a16:creationId xmlns:a16="http://schemas.microsoft.com/office/drawing/2014/main" id="{57EB7562-F1B8-4497-A073-F00A02819349}"/>
              </a:ext>
            </a:extLst>
          </p:cNvPr>
          <p:cNvSpPr txBox="1"/>
          <p:nvPr/>
        </p:nvSpPr>
        <p:spPr>
          <a:xfrm>
            <a:off x="5632338" y="1761185"/>
            <a:ext cx="3456384" cy="259238"/>
          </a:xfrm>
          <a:prstGeom prst="rect">
            <a:avLst/>
          </a:prstGeom>
          <a:noFill/>
        </p:spPr>
        <p:txBody>
          <a:bodyPr wrap="square" rtlCol="0">
            <a:spAutoFit/>
          </a:bodyPr>
          <a:lstStyle/>
          <a:p>
            <a:pPr>
              <a:lnSpc>
                <a:spcPts val="1292"/>
              </a:lnSpc>
            </a:pPr>
            <a:r>
              <a:rPr lang="es-ES" sz="1477" b="1" dirty="0">
                <a:solidFill>
                  <a:schemeClr val="accent1"/>
                </a:solidFill>
                <a:latin typeface="Arial Narrow" panose="020B0606020202030204" pitchFamily="34" charset="0"/>
              </a:rPr>
              <a:t>Herramientas colaborativas</a:t>
            </a:r>
          </a:p>
        </p:txBody>
      </p:sp>
      <p:sp>
        <p:nvSpPr>
          <p:cNvPr id="22" name="Rectángulo 21">
            <a:extLst>
              <a:ext uri="{FF2B5EF4-FFF2-40B4-BE49-F238E27FC236}">
                <a16:creationId xmlns:a16="http://schemas.microsoft.com/office/drawing/2014/main" id="{494E1DBF-1260-45DA-B544-A6BC48B88A5F}"/>
              </a:ext>
            </a:extLst>
          </p:cNvPr>
          <p:cNvSpPr/>
          <p:nvPr/>
        </p:nvSpPr>
        <p:spPr>
          <a:xfrm>
            <a:off x="5632339" y="1967174"/>
            <a:ext cx="3523919" cy="1815882"/>
          </a:xfrm>
          <a:prstGeom prst="rect">
            <a:avLst/>
          </a:prstGeom>
        </p:spPr>
        <p:txBody>
          <a:bodyPr wrap="square">
            <a:spAutoFit/>
          </a:bodyPr>
          <a:lstStyle/>
          <a:p>
            <a:r>
              <a:rPr lang="es-ES" sz="1400" dirty="0">
                <a:latin typeface="Arial Narrow" panose="020B0606020202030204" pitchFamily="34" charset="0"/>
              </a:rPr>
              <a:t>Se ha puesto a disposición de los usuarios el producto Office 365 entre cuyas ventajas están </a:t>
            </a:r>
          </a:p>
          <a:p>
            <a:pPr marL="171450" indent="-171450">
              <a:buFont typeface="Arial" panose="020B0604020202020204" pitchFamily="34" charset="0"/>
              <a:buChar char="•"/>
            </a:pPr>
            <a:r>
              <a:rPr lang="es-ES" sz="1400" dirty="0">
                <a:latin typeface="Arial Narrow" panose="020B0606020202030204" pitchFamily="34" charset="0"/>
              </a:rPr>
              <a:t>la posibilidad de trabajar en la nube y poder acceder a ella en cualquier momento, lo que permite la movilidad total. </a:t>
            </a:r>
          </a:p>
          <a:p>
            <a:pPr marL="171450" indent="-171450">
              <a:buFont typeface="Arial" panose="020B0604020202020204" pitchFamily="34" charset="0"/>
              <a:buChar char="•"/>
            </a:pPr>
            <a:r>
              <a:rPr lang="es-ES" sz="1400" dirty="0">
                <a:latin typeface="Arial Narrow" panose="020B0606020202030204" pitchFamily="34" charset="0"/>
              </a:rPr>
              <a:t>Compartir ficheros, chat.</a:t>
            </a:r>
          </a:p>
          <a:p>
            <a:pPr marL="171450" indent="-171450">
              <a:buFont typeface="Arial" panose="020B0604020202020204" pitchFamily="34" charset="0"/>
              <a:buChar char="•"/>
            </a:pPr>
            <a:r>
              <a:rPr lang="es-ES" sz="1400" dirty="0">
                <a:latin typeface="Arial Narrow" panose="020B0606020202030204" pitchFamily="34" charset="0"/>
              </a:rPr>
              <a:t>Posibilidad de realizar reuniones virtuales y llamadas</a:t>
            </a:r>
            <a:endParaRPr lang="es-ES" sz="1400" b="1" dirty="0">
              <a:latin typeface="Arial Narrow" panose="020B0606020202030204" pitchFamily="34" charset="0"/>
            </a:endParaRPr>
          </a:p>
        </p:txBody>
      </p:sp>
      <p:sp>
        <p:nvSpPr>
          <p:cNvPr id="23" name="CuadroTexto 22">
            <a:extLst>
              <a:ext uri="{FF2B5EF4-FFF2-40B4-BE49-F238E27FC236}">
                <a16:creationId xmlns:a16="http://schemas.microsoft.com/office/drawing/2014/main" id="{9A15C800-201A-4E8A-84AB-D565F4C2FAD0}"/>
              </a:ext>
            </a:extLst>
          </p:cNvPr>
          <p:cNvSpPr txBox="1"/>
          <p:nvPr/>
        </p:nvSpPr>
        <p:spPr>
          <a:xfrm>
            <a:off x="1004117" y="3898030"/>
            <a:ext cx="2725226" cy="259238"/>
          </a:xfrm>
          <a:prstGeom prst="rect">
            <a:avLst/>
          </a:prstGeom>
          <a:noFill/>
        </p:spPr>
        <p:txBody>
          <a:bodyPr wrap="square" rtlCol="0">
            <a:spAutoFit/>
          </a:bodyPr>
          <a:lstStyle/>
          <a:p>
            <a:pPr>
              <a:lnSpc>
                <a:spcPts val="1292"/>
              </a:lnSpc>
            </a:pPr>
            <a:r>
              <a:rPr lang="es-ES" sz="1477" b="1" dirty="0">
                <a:solidFill>
                  <a:schemeClr val="accent5"/>
                </a:solidFill>
                <a:latin typeface="Arial Narrow" panose="020B0606020202030204" pitchFamily="34" charset="0"/>
              </a:rPr>
              <a:t>Equipos de movilidad</a:t>
            </a:r>
          </a:p>
        </p:txBody>
      </p:sp>
      <p:sp>
        <p:nvSpPr>
          <p:cNvPr id="24" name="Rectángulo 23">
            <a:extLst>
              <a:ext uri="{FF2B5EF4-FFF2-40B4-BE49-F238E27FC236}">
                <a16:creationId xmlns:a16="http://schemas.microsoft.com/office/drawing/2014/main" id="{CD6BAB93-AF11-4CD1-86C2-F3118D6AFE8D}"/>
              </a:ext>
            </a:extLst>
          </p:cNvPr>
          <p:cNvSpPr/>
          <p:nvPr/>
        </p:nvSpPr>
        <p:spPr>
          <a:xfrm>
            <a:off x="993136" y="4093520"/>
            <a:ext cx="3391838" cy="1815882"/>
          </a:xfrm>
          <a:prstGeom prst="rect">
            <a:avLst/>
          </a:prstGeom>
        </p:spPr>
        <p:txBody>
          <a:bodyPr wrap="square">
            <a:spAutoFit/>
          </a:bodyPr>
          <a:lstStyle/>
          <a:p>
            <a:pPr>
              <a:buClr>
                <a:srgbClr val="0070C0"/>
              </a:buClr>
            </a:pPr>
            <a:r>
              <a:rPr lang="es-ES" sz="1400" dirty="0">
                <a:latin typeface="Arial Narrow" panose="020B0606020202030204" pitchFamily="34" charset="0"/>
              </a:rPr>
              <a:t>Todas las herramientas tecnológicas que el profesional al servicio de la Administración de Justicia necesita para trabajar lo tiene disponible en su ordenador portátil y en su ordenador personal, permitiéndole disponer de las mismas funcionalidades en su despacho, en una sala de vistas o de deliberaciones o en su propia casa, con el añadido de la seguridad. </a:t>
            </a:r>
          </a:p>
        </p:txBody>
      </p:sp>
      <p:sp>
        <p:nvSpPr>
          <p:cNvPr id="25" name="CuadroTexto 24">
            <a:extLst>
              <a:ext uri="{FF2B5EF4-FFF2-40B4-BE49-F238E27FC236}">
                <a16:creationId xmlns:a16="http://schemas.microsoft.com/office/drawing/2014/main" id="{D70D3BA0-402C-48D6-B774-ADE55D1AAA72}"/>
              </a:ext>
            </a:extLst>
          </p:cNvPr>
          <p:cNvSpPr txBox="1"/>
          <p:nvPr/>
        </p:nvSpPr>
        <p:spPr>
          <a:xfrm>
            <a:off x="5632340" y="3913618"/>
            <a:ext cx="1471923" cy="259238"/>
          </a:xfrm>
          <a:prstGeom prst="rect">
            <a:avLst/>
          </a:prstGeom>
          <a:noFill/>
        </p:spPr>
        <p:txBody>
          <a:bodyPr wrap="square" rtlCol="0">
            <a:spAutoFit/>
          </a:bodyPr>
          <a:lstStyle/>
          <a:p>
            <a:pPr>
              <a:lnSpc>
                <a:spcPts val="1292"/>
              </a:lnSpc>
            </a:pPr>
            <a:r>
              <a:rPr lang="es-ES" sz="1477" b="1">
                <a:solidFill>
                  <a:srgbClr val="3EAB22"/>
                </a:solidFill>
                <a:latin typeface="Arial Narrow" panose="020B0606020202030204" pitchFamily="34" charset="0"/>
              </a:rPr>
              <a:t>Videoconferencia</a:t>
            </a:r>
          </a:p>
        </p:txBody>
      </p:sp>
      <p:sp>
        <p:nvSpPr>
          <p:cNvPr id="26" name="Rectángulo 25">
            <a:extLst>
              <a:ext uri="{FF2B5EF4-FFF2-40B4-BE49-F238E27FC236}">
                <a16:creationId xmlns:a16="http://schemas.microsoft.com/office/drawing/2014/main" id="{457A981E-E6A4-4467-87AF-101D01546AA0}"/>
              </a:ext>
            </a:extLst>
          </p:cNvPr>
          <p:cNvSpPr/>
          <p:nvPr/>
        </p:nvSpPr>
        <p:spPr>
          <a:xfrm>
            <a:off x="5635508" y="4878334"/>
            <a:ext cx="2450858" cy="523220"/>
          </a:xfrm>
          <a:prstGeom prst="rect">
            <a:avLst/>
          </a:prstGeom>
        </p:spPr>
        <p:txBody>
          <a:bodyPr wrap="square">
            <a:spAutoFit/>
          </a:bodyPr>
          <a:lstStyle/>
          <a:p>
            <a:pPr marL="158262" lvl="1" indent="-158262" algn="just">
              <a:buFont typeface="Arial" panose="020B0604020202020204" pitchFamily="34" charset="0"/>
              <a:buChar char="•"/>
            </a:pPr>
            <a:r>
              <a:rPr lang="es-ES" sz="1400" dirty="0">
                <a:latin typeface="Arial Narrow" panose="020B0606020202030204" pitchFamily="34" charset="0"/>
              </a:rPr>
              <a:t>Videoconferencias fijas</a:t>
            </a:r>
          </a:p>
          <a:p>
            <a:pPr marL="158262" lvl="1" indent="-158262" algn="just">
              <a:buFont typeface="Arial" panose="020B0604020202020204" pitchFamily="34" charset="0"/>
              <a:buChar char="•"/>
            </a:pPr>
            <a:r>
              <a:rPr lang="es-ES" sz="1400" dirty="0">
                <a:latin typeface="Arial Narrow" panose="020B0606020202030204" pitchFamily="34" charset="0"/>
              </a:rPr>
              <a:t>Videoconferencias móviles</a:t>
            </a:r>
          </a:p>
        </p:txBody>
      </p:sp>
      <p:sp>
        <p:nvSpPr>
          <p:cNvPr id="27" name="Rectángulo 26">
            <a:extLst>
              <a:ext uri="{FF2B5EF4-FFF2-40B4-BE49-F238E27FC236}">
                <a16:creationId xmlns:a16="http://schemas.microsoft.com/office/drawing/2014/main" id="{7F50F4D4-4025-4A25-B67E-7EF87AC34FE7}"/>
              </a:ext>
            </a:extLst>
          </p:cNvPr>
          <p:cNvSpPr/>
          <p:nvPr/>
        </p:nvSpPr>
        <p:spPr>
          <a:xfrm>
            <a:off x="5632338" y="4169721"/>
            <a:ext cx="3456384" cy="738664"/>
          </a:xfrm>
          <a:prstGeom prst="rect">
            <a:avLst/>
          </a:prstGeom>
        </p:spPr>
        <p:txBody>
          <a:bodyPr wrap="square">
            <a:spAutoFit/>
          </a:bodyPr>
          <a:lstStyle/>
          <a:p>
            <a:r>
              <a:rPr lang="es-ES" sz="1400" dirty="0">
                <a:latin typeface="Arial Narrow" panose="020B0606020202030204" pitchFamily="34" charset="0"/>
              </a:rPr>
              <a:t>Se habilitan salas virtuales para poder celebrar reuniones de forma no presencial en dos modalidades:</a:t>
            </a:r>
          </a:p>
        </p:txBody>
      </p:sp>
      <p:sp>
        <p:nvSpPr>
          <p:cNvPr id="31" name="Rectángulo 30">
            <a:extLst>
              <a:ext uri="{FF2B5EF4-FFF2-40B4-BE49-F238E27FC236}">
                <a16:creationId xmlns:a16="http://schemas.microsoft.com/office/drawing/2014/main" id="{5F8754F8-D7B6-4A9F-A692-EECE1BC9F16E}"/>
              </a:ext>
            </a:extLst>
          </p:cNvPr>
          <p:cNvSpPr/>
          <p:nvPr/>
        </p:nvSpPr>
        <p:spPr>
          <a:xfrm>
            <a:off x="0" y="6015208"/>
            <a:ext cx="9144000" cy="2628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77" b="1">
                <a:latin typeface="Arial Narrow" panose="020B0606020202030204" pitchFamily="34" charset="0"/>
              </a:rPr>
              <a:t>Acceso seguro a las aplicaciones</a:t>
            </a:r>
          </a:p>
        </p:txBody>
      </p:sp>
      <p:pic>
        <p:nvPicPr>
          <p:cNvPr id="32" name="Gráfico 31" descr="Bloquear">
            <a:extLst>
              <a:ext uri="{FF2B5EF4-FFF2-40B4-BE49-F238E27FC236}">
                <a16:creationId xmlns:a16="http://schemas.microsoft.com/office/drawing/2014/main" id="{9796180A-F4F4-457D-B66F-B747F4EC695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866445" y="6039477"/>
            <a:ext cx="190546" cy="190546"/>
          </a:xfrm>
          <a:prstGeom prst="rect">
            <a:avLst/>
          </a:prstGeom>
        </p:spPr>
      </p:pic>
    </p:spTree>
    <p:extLst>
      <p:ext uri="{BB962C8B-B14F-4D97-AF65-F5344CB8AC3E}">
        <p14:creationId xmlns:p14="http://schemas.microsoft.com/office/powerpoint/2010/main" val="2855128201"/>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665B547-BAA5-470B-8A52-5C58FDEE66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95" imgH="396" progId="TCLayout.ActiveDocument.1">
                  <p:embed/>
                </p:oleObj>
              </mc:Choice>
              <mc:Fallback>
                <p:oleObj name="Diapositiva de think-cell" r:id="rId5" imgW="395" imgH="396" progId="TCLayout.ActiveDocument.1">
                  <p:embed/>
                  <p:pic>
                    <p:nvPicPr>
                      <p:cNvPr id="6" name="Objeto 5" hidden="1">
                        <a:extLst>
                          <a:ext uri="{FF2B5EF4-FFF2-40B4-BE49-F238E27FC236}">
                            <a16:creationId xmlns:a16="http://schemas.microsoft.com/office/drawing/2014/main" id="{5665B547-BAA5-470B-8A52-5C58FDEE66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7" name="Rectángulo 136">
            <a:extLst>
              <a:ext uri="{FF2B5EF4-FFF2-40B4-BE49-F238E27FC236}">
                <a16:creationId xmlns:a16="http://schemas.microsoft.com/office/drawing/2014/main" id="{01B4BEBB-4C8B-4033-B34E-904945E6AF76}"/>
              </a:ext>
            </a:extLst>
          </p:cNvPr>
          <p:cNvSpPr/>
          <p:nvPr/>
        </p:nvSpPr>
        <p:spPr>
          <a:xfrm>
            <a:off x="3607694" y="6343650"/>
            <a:ext cx="1941818" cy="4796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Rectángulo 6" hidden="1">
            <a:extLst>
              <a:ext uri="{FF2B5EF4-FFF2-40B4-BE49-F238E27FC236}">
                <a16:creationId xmlns:a16="http://schemas.microsoft.com/office/drawing/2014/main" id="{50DE3542-0992-4930-9939-79EC6E02AEC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0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pic>
        <p:nvPicPr>
          <p:cNvPr id="165" name="Imagen 164">
            <a:extLst>
              <a:ext uri="{FF2B5EF4-FFF2-40B4-BE49-F238E27FC236}">
                <a16:creationId xmlns:a16="http://schemas.microsoft.com/office/drawing/2014/main" id="{4A962982-16C6-4190-83AB-4DEAC087701E}"/>
              </a:ext>
            </a:extLst>
          </p:cNvPr>
          <p:cNvPicPr>
            <a:picLocks noChangeAspect="1"/>
          </p:cNvPicPr>
          <p:nvPr/>
        </p:nvPicPr>
        <p:blipFill rotWithShape="1">
          <a:blip r:embed="rId7">
            <a:duotone>
              <a:srgbClr val="CCCCCC">
                <a:shade val="45000"/>
                <a:satMod val="135000"/>
              </a:srgbClr>
              <a:prstClr val="white"/>
            </a:duotone>
          </a:blip>
          <a:srcRect l="19819" t="2513" r="38487" b="32740"/>
          <a:stretch/>
        </p:blipFill>
        <p:spPr>
          <a:xfrm>
            <a:off x="15977" y="2241518"/>
            <a:ext cx="9158117" cy="3401541"/>
          </a:xfrm>
          <a:prstGeom prst="rect">
            <a:avLst/>
          </a:prstGeom>
        </p:spPr>
      </p:pic>
      <p:pic>
        <p:nvPicPr>
          <p:cNvPr id="166" name="Imagen 165">
            <a:extLst>
              <a:ext uri="{FF2B5EF4-FFF2-40B4-BE49-F238E27FC236}">
                <a16:creationId xmlns:a16="http://schemas.microsoft.com/office/drawing/2014/main" id="{F67F1959-3CA6-4F35-8FDC-7BF3F9A2EF80}"/>
              </a:ext>
            </a:extLst>
          </p:cNvPr>
          <p:cNvPicPr>
            <a:picLocks noChangeAspect="1"/>
          </p:cNvPicPr>
          <p:nvPr/>
        </p:nvPicPr>
        <p:blipFill>
          <a:blip r:embed="rId8">
            <a:duotone>
              <a:srgbClr val="3582C8">
                <a:shade val="45000"/>
                <a:satMod val="135000"/>
              </a:srgbClr>
              <a:prstClr val="white"/>
            </a:duotone>
          </a:blip>
          <a:stretch>
            <a:fillRect/>
          </a:stretch>
        </p:blipFill>
        <p:spPr>
          <a:xfrm>
            <a:off x="4345529" y="2963520"/>
            <a:ext cx="3148438" cy="2609376"/>
          </a:xfrm>
          <a:prstGeom prst="rect">
            <a:avLst/>
          </a:prstGeom>
        </p:spPr>
      </p:pic>
      <p:sp>
        <p:nvSpPr>
          <p:cNvPr id="167" name="CuadroTexto 166">
            <a:extLst>
              <a:ext uri="{FF2B5EF4-FFF2-40B4-BE49-F238E27FC236}">
                <a16:creationId xmlns:a16="http://schemas.microsoft.com/office/drawing/2014/main" id="{E099F8DC-7E01-4B32-BC5B-D086C2F7D3E2}"/>
              </a:ext>
            </a:extLst>
          </p:cNvPr>
          <p:cNvSpPr txBox="1"/>
          <p:nvPr/>
        </p:nvSpPr>
        <p:spPr>
          <a:xfrm>
            <a:off x="4863517" y="3517417"/>
            <a:ext cx="2087674" cy="291170"/>
          </a:xfrm>
          <a:prstGeom prst="rect">
            <a:avLst/>
          </a:prstGeom>
          <a:noFill/>
        </p:spPr>
        <p:txBody>
          <a:bodyPr wrap="square" rtlCol="0">
            <a:spAutoFit/>
          </a:bodyPr>
          <a:lstStyle/>
          <a:p>
            <a:pPr algn="ctr"/>
            <a:r>
              <a:rPr lang="es-ES" sz="1292" b="1">
                <a:solidFill>
                  <a:srgbClr val="043A6C"/>
                </a:solidFill>
                <a:latin typeface="+mj-lt"/>
              </a:rPr>
              <a:t>ÓRGANO JUDICIAL</a:t>
            </a:r>
          </a:p>
        </p:txBody>
      </p:sp>
      <p:sp>
        <p:nvSpPr>
          <p:cNvPr id="168" name="CuadroTexto 167">
            <a:extLst>
              <a:ext uri="{FF2B5EF4-FFF2-40B4-BE49-F238E27FC236}">
                <a16:creationId xmlns:a16="http://schemas.microsoft.com/office/drawing/2014/main" id="{1F1E0362-E39A-4928-8AD0-9B61D5B26579}"/>
              </a:ext>
            </a:extLst>
          </p:cNvPr>
          <p:cNvSpPr txBox="1"/>
          <p:nvPr/>
        </p:nvSpPr>
        <p:spPr>
          <a:xfrm>
            <a:off x="4627962" y="4089612"/>
            <a:ext cx="1747025" cy="458993"/>
          </a:xfrm>
          <a:prstGeom prst="rect">
            <a:avLst/>
          </a:prstGeom>
          <a:solidFill>
            <a:srgbClr val="3582C8">
              <a:lumMod val="20000"/>
              <a:lumOff val="80000"/>
            </a:srgbClr>
          </a:solidFill>
          <a:ln>
            <a:noFill/>
          </a:ln>
        </p:spPr>
        <p:txBody>
          <a:bodyPr wrap="square" lIns="33231" tIns="33231" rIns="33231" bIns="0" rtlCol="0">
            <a:spAutoFit/>
          </a:bodyPr>
          <a:lstStyle>
            <a:defPPr>
              <a:defRPr lang="es-ES"/>
            </a:defPPr>
            <a:lvl1pPr marL="92075" indent="-92075">
              <a:lnSpc>
                <a:spcPts val="1000"/>
              </a:lnSpc>
              <a:buClr>
                <a:srgbClr val="8C0900"/>
              </a:buClr>
              <a:buFont typeface="Arial" panose="020B0604020202020204" pitchFamily="34" charset="0"/>
              <a:buChar char="•"/>
              <a:defRPr sz="1000">
                <a:solidFill>
                  <a:srgbClr val="000000"/>
                </a:solidFill>
                <a:latin typeface="Arial Narrow" panose="020B0606020202030204" pitchFamily="34" charset="0"/>
              </a:defRPr>
            </a:lvl1pPr>
          </a:lstStyle>
          <a:p>
            <a:pPr marL="92075" marR="0" lvl="0" indent="-92075" defTabSz="914400" eaLnBrk="1" fontAlgn="auto" latinLnBrk="0" hangingPunct="1">
              <a:lnSpc>
                <a:spcPts val="1108"/>
              </a:lnSpc>
              <a:spcBef>
                <a:spcPts val="0"/>
              </a:spcBef>
              <a:spcAft>
                <a:spcPts val="0"/>
              </a:spcAft>
              <a:buClr>
                <a:srgbClr val="043A6C"/>
              </a:buClr>
              <a:buSzTx/>
              <a:buFont typeface="Arial" panose="020B0604020202020204" pitchFamily="34" charset="0"/>
              <a:buChar char="•"/>
              <a:tabLst/>
              <a:defRPr/>
            </a:pPr>
            <a:r>
              <a:rPr kumimoji="0" lang="es-ES" sz="1108" b="0" i="0" u="none" strike="noStrike" kern="0" cap="none" spc="0" normalizeH="0" baseline="0" noProof="0" dirty="0">
                <a:ln>
                  <a:noFill/>
                </a:ln>
                <a:solidFill>
                  <a:srgbClr val="4E4E4E">
                    <a:lumMod val="50000"/>
                  </a:srgbClr>
                </a:solidFill>
                <a:effectLst/>
                <a:uLnTx/>
                <a:uFillTx/>
                <a:latin typeface="+mj-lt"/>
              </a:rPr>
              <a:t>Realización de resoluciones judiciales por parte de Jueces y Magistrados</a:t>
            </a:r>
          </a:p>
        </p:txBody>
      </p:sp>
      <p:sp>
        <p:nvSpPr>
          <p:cNvPr id="169" name="CuadroTexto 168">
            <a:extLst>
              <a:ext uri="{FF2B5EF4-FFF2-40B4-BE49-F238E27FC236}">
                <a16:creationId xmlns:a16="http://schemas.microsoft.com/office/drawing/2014/main" id="{E0D3EFB1-6A3D-44B2-AB38-F88B5E76D907}"/>
              </a:ext>
            </a:extLst>
          </p:cNvPr>
          <p:cNvSpPr txBox="1"/>
          <p:nvPr/>
        </p:nvSpPr>
        <p:spPr>
          <a:xfrm>
            <a:off x="503053" y="3818516"/>
            <a:ext cx="1620000" cy="456748"/>
          </a:xfrm>
          <a:prstGeom prst="rect">
            <a:avLst/>
          </a:prstGeom>
          <a:solidFill>
            <a:srgbClr val="3EAB22">
              <a:lumMod val="20000"/>
              <a:lumOff val="80000"/>
            </a:srgbClr>
          </a:solidFill>
          <a:ln>
            <a:noFill/>
          </a:ln>
        </p:spPr>
        <p:txBody>
          <a:bodyPr wrap="square" lIns="33231" tIns="33231" rIns="33231" bIns="0" rtlCol="0">
            <a:spAutoFit/>
          </a:bodyPr>
          <a:lstStyle/>
          <a:p>
            <a:pPr marL="84992" marR="0" lvl="0" indent="-84992" defTabSz="914400" eaLnBrk="1" fontAlgn="auto" latinLnBrk="0" hangingPunct="1">
              <a:lnSpc>
                <a:spcPts val="1108"/>
              </a:lnSpc>
              <a:spcBef>
                <a:spcPts val="0"/>
              </a:spcBef>
              <a:spcAft>
                <a:spcPts val="0"/>
              </a:spcAft>
              <a:buClr>
                <a:srgbClr val="3EAB22">
                  <a:lumMod val="75000"/>
                </a:srgbClr>
              </a:buClr>
              <a:buSzTx/>
              <a:buFont typeface="Arial" panose="020B0604020202020204" pitchFamily="34" charset="0"/>
              <a:buChar char="•"/>
              <a:tabLst/>
              <a:defRPr/>
            </a:pPr>
            <a:r>
              <a:rPr kumimoji="0" lang="es-ES" sz="1108" b="0" i="0" u="none" strike="noStrike" kern="0" cap="none" spc="0" normalizeH="0" baseline="0" noProof="0" dirty="0">
                <a:ln>
                  <a:noFill/>
                </a:ln>
                <a:solidFill>
                  <a:srgbClr val="4E4E4E">
                    <a:lumMod val="50000"/>
                  </a:srgbClr>
                </a:solidFill>
                <a:effectLst/>
                <a:uLnTx/>
                <a:uFillTx/>
                <a:latin typeface="+mj-lt"/>
              </a:rPr>
              <a:t>Gestión y Tramitación </a:t>
            </a:r>
          </a:p>
          <a:p>
            <a:pPr marR="0" lvl="0" defTabSz="914400" eaLnBrk="1" fontAlgn="auto" latinLnBrk="0" hangingPunct="1">
              <a:lnSpc>
                <a:spcPts val="1108"/>
              </a:lnSpc>
              <a:spcBef>
                <a:spcPts val="0"/>
              </a:spcBef>
              <a:spcAft>
                <a:spcPts val="0"/>
              </a:spcAft>
              <a:buClr>
                <a:srgbClr val="3EAB22">
                  <a:lumMod val="75000"/>
                </a:srgbClr>
              </a:buClr>
              <a:buSzTx/>
              <a:tabLst/>
              <a:defRPr/>
            </a:pPr>
            <a:r>
              <a:rPr kumimoji="0" lang="es-ES" sz="1108" b="0" i="0" u="none" strike="noStrike" kern="0" cap="none" spc="0" normalizeH="0" baseline="0" noProof="0" dirty="0">
                <a:ln>
                  <a:noFill/>
                </a:ln>
                <a:solidFill>
                  <a:srgbClr val="4E4E4E">
                    <a:lumMod val="50000"/>
                  </a:srgbClr>
                </a:solidFill>
                <a:effectLst/>
                <a:uLnTx/>
                <a:uFillTx/>
                <a:latin typeface="+mj-lt"/>
              </a:rPr>
              <a:t>del Expediente Pericial Electrónico</a:t>
            </a:r>
          </a:p>
        </p:txBody>
      </p:sp>
      <p:sp>
        <p:nvSpPr>
          <p:cNvPr id="170" name="Arco 169">
            <a:extLst>
              <a:ext uri="{FF2B5EF4-FFF2-40B4-BE49-F238E27FC236}">
                <a16:creationId xmlns:a16="http://schemas.microsoft.com/office/drawing/2014/main" id="{1685755A-1218-4363-89AC-66ED4CE4C94F}"/>
              </a:ext>
            </a:extLst>
          </p:cNvPr>
          <p:cNvSpPr/>
          <p:nvPr/>
        </p:nvSpPr>
        <p:spPr>
          <a:xfrm rot="2284131">
            <a:off x="6171633" y="3539228"/>
            <a:ext cx="2261292" cy="1426661"/>
          </a:xfrm>
          <a:prstGeom prst="arc">
            <a:avLst>
              <a:gd name="adj1" fmla="val 12178910"/>
              <a:gd name="adj2" fmla="val 17855606"/>
            </a:avLst>
          </a:prstGeom>
          <a:noFill/>
          <a:ln w="9525" cap="flat" cmpd="sng" algn="ctr">
            <a:solidFill>
              <a:srgbClr val="F2B808"/>
            </a:solidFill>
            <a:prstDash val="solid"/>
            <a:headEnd type="triangle"/>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a typeface="+mn-ea"/>
              <a:cs typeface="+mn-cs"/>
            </a:endParaRPr>
          </a:p>
        </p:txBody>
      </p:sp>
      <p:pic>
        <p:nvPicPr>
          <p:cNvPr id="171" name="Imagen 170">
            <a:extLst>
              <a:ext uri="{FF2B5EF4-FFF2-40B4-BE49-F238E27FC236}">
                <a16:creationId xmlns:a16="http://schemas.microsoft.com/office/drawing/2014/main" id="{8367A68D-14CF-4E61-84D8-C03DB5C4590E}"/>
              </a:ext>
            </a:extLst>
          </p:cNvPr>
          <p:cNvPicPr>
            <a:picLocks noChangeAspect="1"/>
          </p:cNvPicPr>
          <p:nvPr/>
        </p:nvPicPr>
        <p:blipFill>
          <a:blip r:embed="rId9">
            <a:duotone>
              <a:srgbClr val="F2B808">
                <a:shade val="45000"/>
                <a:satMod val="135000"/>
              </a:srgbClr>
              <a:prstClr val="white"/>
            </a:duotone>
          </a:blip>
          <a:stretch>
            <a:fillRect/>
          </a:stretch>
        </p:blipFill>
        <p:spPr>
          <a:xfrm>
            <a:off x="7255591" y="3903054"/>
            <a:ext cx="1895822" cy="1618537"/>
          </a:xfrm>
          <a:prstGeom prst="rect">
            <a:avLst/>
          </a:prstGeom>
        </p:spPr>
      </p:pic>
      <p:sp>
        <p:nvSpPr>
          <p:cNvPr id="172" name="CuadroTexto 171">
            <a:extLst>
              <a:ext uri="{FF2B5EF4-FFF2-40B4-BE49-F238E27FC236}">
                <a16:creationId xmlns:a16="http://schemas.microsoft.com/office/drawing/2014/main" id="{26ADBD04-ACE6-4AFB-B677-3C4796EDD608}"/>
              </a:ext>
            </a:extLst>
          </p:cNvPr>
          <p:cNvSpPr txBox="1"/>
          <p:nvPr/>
        </p:nvSpPr>
        <p:spPr>
          <a:xfrm>
            <a:off x="7505850" y="4367038"/>
            <a:ext cx="1434845" cy="310406"/>
          </a:xfrm>
          <a:prstGeom prst="rect">
            <a:avLst/>
          </a:prstGeom>
          <a:noFill/>
        </p:spPr>
        <p:txBody>
          <a:bodyPr wrap="square" rtlCol="0">
            <a:spAutoFit/>
          </a:bodyPr>
          <a:lstStyle/>
          <a:p>
            <a:pPr algn="ctr"/>
            <a:r>
              <a:rPr lang="es-ES" sz="1417" b="1">
                <a:solidFill>
                  <a:srgbClr val="FF9F00"/>
                </a:solidFill>
                <a:latin typeface="+mj-lt"/>
              </a:rPr>
              <a:t>FISCALÍA</a:t>
            </a:r>
          </a:p>
        </p:txBody>
      </p:sp>
      <p:grpSp>
        <p:nvGrpSpPr>
          <p:cNvPr id="173" name="Grupo 172">
            <a:extLst>
              <a:ext uri="{FF2B5EF4-FFF2-40B4-BE49-F238E27FC236}">
                <a16:creationId xmlns:a16="http://schemas.microsoft.com/office/drawing/2014/main" id="{4B2A974C-1DCA-4F54-9345-0F1E6F2536F7}"/>
              </a:ext>
            </a:extLst>
          </p:cNvPr>
          <p:cNvGrpSpPr/>
          <p:nvPr/>
        </p:nvGrpSpPr>
        <p:grpSpPr>
          <a:xfrm>
            <a:off x="8086549" y="4119403"/>
            <a:ext cx="323478" cy="243128"/>
            <a:chOff x="9417997" y="4065157"/>
            <a:chExt cx="884434" cy="710365"/>
          </a:xfrm>
          <a:solidFill>
            <a:srgbClr val="FF9F00"/>
          </a:solidFill>
        </p:grpSpPr>
        <p:sp>
          <p:nvSpPr>
            <p:cNvPr id="174" name="Forma libre: forma 173">
              <a:extLst>
                <a:ext uri="{FF2B5EF4-FFF2-40B4-BE49-F238E27FC236}">
                  <a16:creationId xmlns:a16="http://schemas.microsoft.com/office/drawing/2014/main" id="{9E29D069-845F-45B6-8B21-2E35F9FB5CDE}"/>
                </a:ext>
              </a:extLst>
            </p:cNvPr>
            <p:cNvSpPr/>
            <p:nvPr/>
          </p:nvSpPr>
          <p:spPr>
            <a:xfrm>
              <a:off x="9519709" y="4065157"/>
              <a:ext cx="782722" cy="428252"/>
            </a:xfrm>
            <a:custGeom>
              <a:avLst/>
              <a:gdLst>
                <a:gd name="connsiteX0" fmla="*/ 750781 w 782722"/>
                <a:gd name="connsiteY0" fmla="*/ 333440 h 428251"/>
                <a:gd name="connsiteX1" fmla="*/ 518531 w 782722"/>
                <a:gd name="connsiteY1" fmla="*/ 272811 h 428251"/>
                <a:gd name="connsiteX2" fmla="*/ 454052 w 782722"/>
                <a:gd name="connsiteY2" fmla="*/ 255488 h 428251"/>
                <a:gd name="connsiteX3" fmla="*/ 285799 w 782722"/>
                <a:gd name="connsiteY3" fmla="*/ 211380 h 428251"/>
                <a:gd name="connsiteX4" fmla="*/ 294781 w 782722"/>
                <a:gd name="connsiteY4" fmla="*/ 178820 h 428251"/>
                <a:gd name="connsiteX5" fmla="*/ 323973 w 782722"/>
                <a:gd name="connsiteY5" fmla="*/ 122041 h 428251"/>
                <a:gd name="connsiteX6" fmla="*/ 316274 w 782722"/>
                <a:gd name="connsiteY6" fmla="*/ 52590 h 428251"/>
                <a:gd name="connsiteX7" fmla="*/ 131019 w 782722"/>
                <a:gd name="connsiteY7" fmla="*/ 1424 h 428251"/>
                <a:gd name="connsiteX8" fmla="*/ 88836 w 782722"/>
                <a:gd name="connsiteY8" fmla="*/ 57081 h 428251"/>
                <a:gd name="connsiteX9" fmla="*/ 84665 w 782722"/>
                <a:gd name="connsiteY9" fmla="*/ 120757 h 428251"/>
                <a:gd name="connsiteX10" fmla="*/ 49058 w 782722"/>
                <a:gd name="connsiteY10" fmla="*/ 249554 h 428251"/>
                <a:gd name="connsiteX11" fmla="*/ 19866 w 782722"/>
                <a:gd name="connsiteY11" fmla="*/ 306333 h 428251"/>
                <a:gd name="connsiteX12" fmla="*/ 27565 w 782722"/>
                <a:gd name="connsiteY12" fmla="*/ 375784 h 428251"/>
                <a:gd name="connsiteX13" fmla="*/ 212820 w 782722"/>
                <a:gd name="connsiteY13" fmla="*/ 426949 h 428251"/>
                <a:gd name="connsiteX14" fmla="*/ 255003 w 782722"/>
                <a:gd name="connsiteY14" fmla="*/ 371292 h 428251"/>
                <a:gd name="connsiteX15" fmla="*/ 270081 w 782722"/>
                <a:gd name="connsiteY15" fmla="*/ 319646 h 428251"/>
                <a:gd name="connsiteX16" fmla="*/ 259174 w 782722"/>
                <a:gd name="connsiteY16" fmla="*/ 307616 h 428251"/>
                <a:gd name="connsiteX17" fmla="*/ 268156 w 782722"/>
                <a:gd name="connsiteY17" fmla="*/ 275056 h 428251"/>
                <a:gd name="connsiteX18" fmla="*/ 435126 w 782722"/>
                <a:gd name="connsiteY18" fmla="*/ 323495 h 428251"/>
                <a:gd name="connsiteX19" fmla="*/ 499283 w 782722"/>
                <a:gd name="connsiteY19" fmla="*/ 342101 h 428251"/>
                <a:gd name="connsiteX20" fmla="*/ 729930 w 782722"/>
                <a:gd name="connsiteY20" fmla="*/ 408985 h 428251"/>
                <a:gd name="connsiteX21" fmla="*/ 750781 w 782722"/>
                <a:gd name="connsiteY21" fmla="*/ 333440 h 428251"/>
                <a:gd name="connsiteX22" fmla="*/ 125566 w 782722"/>
                <a:gd name="connsiteY22" fmla="*/ 21474 h 428251"/>
                <a:gd name="connsiteX23" fmla="*/ 310821 w 782722"/>
                <a:gd name="connsiteY23" fmla="*/ 72639 h 428251"/>
                <a:gd name="connsiteX24" fmla="*/ 301838 w 782722"/>
                <a:gd name="connsiteY24" fmla="*/ 105039 h 428251"/>
                <a:gd name="connsiteX25" fmla="*/ 116583 w 782722"/>
                <a:gd name="connsiteY25" fmla="*/ 53873 h 428251"/>
                <a:gd name="connsiteX26" fmla="*/ 125566 w 782722"/>
                <a:gd name="connsiteY26" fmla="*/ 21474 h 428251"/>
                <a:gd name="connsiteX27" fmla="*/ 111130 w 782722"/>
                <a:gd name="connsiteY27" fmla="*/ 73922 h 428251"/>
                <a:gd name="connsiteX28" fmla="*/ 296385 w 782722"/>
                <a:gd name="connsiteY28" fmla="*/ 125088 h 428251"/>
                <a:gd name="connsiteX29" fmla="*/ 287403 w 782722"/>
                <a:gd name="connsiteY29" fmla="*/ 157488 h 428251"/>
                <a:gd name="connsiteX30" fmla="*/ 194856 w 782722"/>
                <a:gd name="connsiteY30" fmla="*/ 131825 h 428251"/>
                <a:gd name="connsiteX31" fmla="*/ 102309 w 782722"/>
                <a:gd name="connsiteY31" fmla="*/ 106162 h 428251"/>
                <a:gd name="connsiteX32" fmla="*/ 111130 w 782722"/>
                <a:gd name="connsiteY32" fmla="*/ 73922 h 428251"/>
                <a:gd name="connsiteX33" fmla="*/ 231265 w 782722"/>
                <a:gd name="connsiteY33" fmla="*/ 405296 h 428251"/>
                <a:gd name="connsiteX34" fmla="*/ 218434 w 782722"/>
                <a:gd name="connsiteY34" fmla="*/ 406900 h 428251"/>
                <a:gd name="connsiteX35" fmla="*/ 33179 w 782722"/>
                <a:gd name="connsiteY35" fmla="*/ 355734 h 428251"/>
                <a:gd name="connsiteX36" fmla="*/ 23074 w 782722"/>
                <a:gd name="connsiteY36" fmla="*/ 347875 h 428251"/>
                <a:gd name="connsiteX37" fmla="*/ 29490 w 782722"/>
                <a:gd name="connsiteY37" fmla="*/ 324939 h 428251"/>
                <a:gd name="connsiteX38" fmla="*/ 37830 w 782722"/>
                <a:gd name="connsiteY38" fmla="*/ 322693 h 428251"/>
                <a:gd name="connsiteX39" fmla="*/ 227576 w 782722"/>
                <a:gd name="connsiteY39" fmla="*/ 374500 h 428251"/>
                <a:gd name="connsiteX40" fmla="*/ 237681 w 782722"/>
                <a:gd name="connsiteY40" fmla="*/ 382360 h 428251"/>
                <a:gd name="connsiteX41" fmla="*/ 231265 w 782722"/>
                <a:gd name="connsiteY41" fmla="*/ 405296 h 428251"/>
                <a:gd name="connsiteX42" fmla="*/ 232869 w 782722"/>
                <a:gd name="connsiteY42" fmla="*/ 354291 h 428251"/>
                <a:gd name="connsiteX43" fmla="*/ 47614 w 782722"/>
                <a:gd name="connsiteY43" fmla="*/ 303125 h 428251"/>
                <a:gd name="connsiteX44" fmla="*/ 37510 w 782722"/>
                <a:gd name="connsiteY44" fmla="*/ 295266 h 428251"/>
                <a:gd name="connsiteX45" fmla="*/ 43925 w 782722"/>
                <a:gd name="connsiteY45" fmla="*/ 272330 h 428251"/>
                <a:gd name="connsiteX46" fmla="*/ 56757 w 782722"/>
                <a:gd name="connsiteY46" fmla="*/ 270726 h 428251"/>
                <a:gd name="connsiteX47" fmla="*/ 242012 w 782722"/>
                <a:gd name="connsiteY47" fmla="*/ 321891 h 428251"/>
                <a:gd name="connsiteX48" fmla="*/ 232869 w 782722"/>
                <a:gd name="connsiteY48" fmla="*/ 354291 h 428251"/>
                <a:gd name="connsiteX49" fmla="*/ 239927 w 782722"/>
                <a:gd name="connsiteY49" fmla="*/ 299757 h 428251"/>
                <a:gd name="connsiteX50" fmla="*/ 69909 w 782722"/>
                <a:gd name="connsiteY50" fmla="*/ 252762 h 428251"/>
                <a:gd name="connsiteX51" fmla="*/ 104233 w 782722"/>
                <a:gd name="connsiteY51" fmla="*/ 128456 h 428251"/>
                <a:gd name="connsiteX52" fmla="*/ 189242 w 782722"/>
                <a:gd name="connsiteY52" fmla="*/ 151874 h 428251"/>
                <a:gd name="connsiteX53" fmla="*/ 274251 w 782722"/>
                <a:gd name="connsiteY53" fmla="*/ 175291 h 428251"/>
                <a:gd name="connsiteX54" fmla="*/ 239927 w 782722"/>
                <a:gd name="connsiteY54" fmla="*/ 299757 h 428251"/>
                <a:gd name="connsiteX55" fmla="*/ 440419 w 782722"/>
                <a:gd name="connsiteY55" fmla="*/ 303286 h 428251"/>
                <a:gd name="connsiteX56" fmla="*/ 273769 w 782722"/>
                <a:gd name="connsiteY56" fmla="*/ 255007 h 428251"/>
                <a:gd name="connsiteX57" fmla="*/ 280346 w 782722"/>
                <a:gd name="connsiteY57" fmla="*/ 231429 h 428251"/>
                <a:gd name="connsiteX58" fmla="*/ 448118 w 782722"/>
                <a:gd name="connsiteY58" fmla="*/ 275537 h 428251"/>
                <a:gd name="connsiteX59" fmla="*/ 440419 w 782722"/>
                <a:gd name="connsiteY59" fmla="*/ 303286 h 428251"/>
                <a:gd name="connsiteX60" fmla="*/ 497519 w 782722"/>
                <a:gd name="connsiteY60" fmla="*/ 272650 h 428251"/>
                <a:gd name="connsiteX61" fmla="*/ 481480 w 782722"/>
                <a:gd name="connsiteY61" fmla="*/ 330873 h 428251"/>
                <a:gd name="connsiteX62" fmla="*/ 456138 w 782722"/>
                <a:gd name="connsiteY62" fmla="*/ 323816 h 428251"/>
                <a:gd name="connsiteX63" fmla="*/ 472177 w 782722"/>
                <a:gd name="connsiteY63" fmla="*/ 265593 h 428251"/>
                <a:gd name="connsiteX64" fmla="*/ 497519 w 782722"/>
                <a:gd name="connsiteY64" fmla="*/ 272650 h 428251"/>
                <a:gd name="connsiteX65" fmla="*/ 735704 w 782722"/>
                <a:gd name="connsiteY65" fmla="*/ 388936 h 428251"/>
                <a:gd name="connsiteX66" fmla="*/ 505378 w 782722"/>
                <a:gd name="connsiteY66" fmla="*/ 322052 h 428251"/>
                <a:gd name="connsiteX67" fmla="*/ 513398 w 782722"/>
                <a:gd name="connsiteY67" fmla="*/ 292860 h 428251"/>
                <a:gd name="connsiteX68" fmla="*/ 745488 w 782722"/>
                <a:gd name="connsiteY68" fmla="*/ 353328 h 428251"/>
                <a:gd name="connsiteX69" fmla="*/ 735704 w 782722"/>
                <a:gd name="connsiteY69" fmla="*/ 388936 h 42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782722" h="428251">
                  <a:moveTo>
                    <a:pt x="750781" y="333440"/>
                  </a:moveTo>
                  <a:lnTo>
                    <a:pt x="518531" y="272811"/>
                  </a:lnTo>
                  <a:cubicBezTo>
                    <a:pt x="521578" y="239449"/>
                    <a:pt x="468969" y="223249"/>
                    <a:pt x="454052" y="255488"/>
                  </a:cubicBezTo>
                  <a:lnTo>
                    <a:pt x="285799" y="211380"/>
                  </a:lnTo>
                  <a:lnTo>
                    <a:pt x="294781" y="178820"/>
                  </a:lnTo>
                  <a:cubicBezTo>
                    <a:pt x="322529" y="176574"/>
                    <a:pt x="338248" y="145939"/>
                    <a:pt x="323973" y="122041"/>
                  </a:cubicBezTo>
                  <a:cubicBezTo>
                    <a:pt x="354127" y="106001"/>
                    <a:pt x="348674" y="61572"/>
                    <a:pt x="316274" y="52590"/>
                  </a:cubicBezTo>
                  <a:lnTo>
                    <a:pt x="131019" y="1424"/>
                  </a:lnTo>
                  <a:cubicBezTo>
                    <a:pt x="98619" y="-7558"/>
                    <a:pt x="71192" y="27729"/>
                    <a:pt x="88836" y="57081"/>
                  </a:cubicBezTo>
                  <a:cubicBezTo>
                    <a:pt x="63975" y="70394"/>
                    <a:pt x="62210" y="104718"/>
                    <a:pt x="84665" y="120757"/>
                  </a:cubicBezTo>
                  <a:lnTo>
                    <a:pt x="49058" y="249554"/>
                  </a:lnTo>
                  <a:cubicBezTo>
                    <a:pt x="21630" y="251799"/>
                    <a:pt x="5431" y="282114"/>
                    <a:pt x="19866" y="306333"/>
                  </a:cubicBezTo>
                  <a:cubicBezTo>
                    <a:pt x="-10288" y="322372"/>
                    <a:pt x="-4835" y="366802"/>
                    <a:pt x="27565" y="375784"/>
                  </a:cubicBezTo>
                  <a:lnTo>
                    <a:pt x="212820" y="426949"/>
                  </a:lnTo>
                  <a:cubicBezTo>
                    <a:pt x="245540" y="435931"/>
                    <a:pt x="272487" y="400484"/>
                    <a:pt x="255003" y="371292"/>
                  </a:cubicBezTo>
                  <a:cubicBezTo>
                    <a:pt x="274251" y="361027"/>
                    <a:pt x="280185" y="337610"/>
                    <a:pt x="270081" y="319646"/>
                  </a:cubicBezTo>
                  <a:cubicBezTo>
                    <a:pt x="267354" y="314834"/>
                    <a:pt x="263665" y="310824"/>
                    <a:pt x="259174" y="307616"/>
                  </a:cubicBezTo>
                  <a:lnTo>
                    <a:pt x="268156" y="275056"/>
                  </a:lnTo>
                  <a:lnTo>
                    <a:pt x="435126" y="323495"/>
                  </a:lnTo>
                  <a:cubicBezTo>
                    <a:pt x="431437" y="357820"/>
                    <a:pt x="484046" y="372896"/>
                    <a:pt x="499283" y="342101"/>
                  </a:cubicBezTo>
                  <a:lnTo>
                    <a:pt x="729930" y="408985"/>
                  </a:lnTo>
                  <a:cubicBezTo>
                    <a:pt x="786388" y="425345"/>
                    <a:pt x="805956" y="347875"/>
                    <a:pt x="750781" y="333440"/>
                  </a:cubicBezTo>
                  <a:close/>
                  <a:moveTo>
                    <a:pt x="125566" y="21474"/>
                  </a:moveTo>
                  <a:lnTo>
                    <a:pt x="310821" y="72639"/>
                  </a:lnTo>
                  <a:cubicBezTo>
                    <a:pt x="332153" y="78574"/>
                    <a:pt x="323492" y="111134"/>
                    <a:pt x="301838" y="105039"/>
                  </a:cubicBezTo>
                  <a:lnTo>
                    <a:pt x="116583" y="53873"/>
                  </a:lnTo>
                  <a:cubicBezTo>
                    <a:pt x="95572" y="48099"/>
                    <a:pt x="103752" y="15379"/>
                    <a:pt x="125566" y="21474"/>
                  </a:cubicBezTo>
                  <a:close/>
                  <a:moveTo>
                    <a:pt x="111130" y="73922"/>
                  </a:moveTo>
                  <a:lnTo>
                    <a:pt x="296385" y="125088"/>
                  </a:lnTo>
                  <a:cubicBezTo>
                    <a:pt x="317878" y="131023"/>
                    <a:pt x="308896" y="163422"/>
                    <a:pt x="287403" y="157488"/>
                  </a:cubicBezTo>
                  <a:lnTo>
                    <a:pt x="194856" y="131825"/>
                  </a:lnTo>
                  <a:lnTo>
                    <a:pt x="102309" y="106162"/>
                  </a:lnTo>
                  <a:cubicBezTo>
                    <a:pt x="80655" y="100387"/>
                    <a:pt x="89638" y="67988"/>
                    <a:pt x="111130" y="73922"/>
                  </a:cubicBezTo>
                  <a:close/>
                  <a:moveTo>
                    <a:pt x="231265" y="405296"/>
                  </a:moveTo>
                  <a:cubicBezTo>
                    <a:pt x="227416" y="407542"/>
                    <a:pt x="222765" y="408023"/>
                    <a:pt x="218434" y="406900"/>
                  </a:cubicBezTo>
                  <a:lnTo>
                    <a:pt x="33179" y="355734"/>
                  </a:lnTo>
                  <a:cubicBezTo>
                    <a:pt x="28848" y="354612"/>
                    <a:pt x="25159" y="351724"/>
                    <a:pt x="23074" y="347875"/>
                  </a:cubicBezTo>
                  <a:cubicBezTo>
                    <a:pt x="18423" y="339855"/>
                    <a:pt x="21310" y="329430"/>
                    <a:pt x="29490" y="324939"/>
                  </a:cubicBezTo>
                  <a:cubicBezTo>
                    <a:pt x="32056" y="323495"/>
                    <a:pt x="34943" y="322693"/>
                    <a:pt x="37830" y="322693"/>
                  </a:cubicBezTo>
                  <a:cubicBezTo>
                    <a:pt x="41359" y="322693"/>
                    <a:pt x="29009" y="319646"/>
                    <a:pt x="227576" y="374500"/>
                  </a:cubicBezTo>
                  <a:cubicBezTo>
                    <a:pt x="231907" y="375623"/>
                    <a:pt x="235596" y="378510"/>
                    <a:pt x="237681" y="382360"/>
                  </a:cubicBezTo>
                  <a:cubicBezTo>
                    <a:pt x="242172" y="390380"/>
                    <a:pt x="239285" y="400645"/>
                    <a:pt x="231265" y="405296"/>
                  </a:cubicBezTo>
                  <a:close/>
                  <a:moveTo>
                    <a:pt x="232869" y="354291"/>
                  </a:moveTo>
                  <a:lnTo>
                    <a:pt x="47614" y="303125"/>
                  </a:lnTo>
                  <a:cubicBezTo>
                    <a:pt x="43284" y="302002"/>
                    <a:pt x="39594" y="299115"/>
                    <a:pt x="37510" y="295266"/>
                  </a:cubicBezTo>
                  <a:cubicBezTo>
                    <a:pt x="32858" y="287246"/>
                    <a:pt x="35745" y="276821"/>
                    <a:pt x="43925" y="272330"/>
                  </a:cubicBezTo>
                  <a:cubicBezTo>
                    <a:pt x="47775" y="270084"/>
                    <a:pt x="52426" y="269603"/>
                    <a:pt x="56757" y="270726"/>
                  </a:cubicBezTo>
                  <a:cubicBezTo>
                    <a:pt x="79212" y="276981"/>
                    <a:pt x="219396" y="315636"/>
                    <a:pt x="242012" y="321891"/>
                  </a:cubicBezTo>
                  <a:cubicBezTo>
                    <a:pt x="263344" y="327826"/>
                    <a:pt x="254362" y="360225"/>
                    <a:pt x="232869" y="354291"/>
                  </a:cubicBezTo>
                  <a:close/>
                  <a:moveTo>
                    <a:pt x="239927" y="299757"/>
                  </a:moveTo>
                  <a:cubicBezTo>
                    <a:pt x="131661" y="269924"/>
                    <a:pt x="178014" y="282595"/>
                    <a:pt x="69909" y="252762"/>
                  </a:cubicBezTo>
                  <a:lnTo>
                    <a:pt x="104233" y="128456"/>
                  </a:lnTo>
                  <a:lnTo>
                    <a:pt x="189242" y="151874"/>
                  </a:lnTo>
                  <a:lnTo>
                    <a:pt x="274251" y="175291"/>
                  </a:lnTo>
                  <a:cubicBezTo>
                    <a:pt x="262702" y="217314"/>
                    <a:pt x="252277" y="254686"/>
                    <a:pt x="239927" y="299757"/>
                  </a:cubicBezTo>
                  <a:close/>
                  <a:moveTo>
                    <a:pt x="440419" y="303286"/>
                  </a:moveTo>
                  <a:lnTo>
                    <a:pt x="273769" y="255007"/>
                  </a:lnTo>
                  <a:cubicBezTo>
                    <a:pt x="278100" y="239609"/>
                    <a:pt x="276977" y="243459"/>
                    <a:pt x="280346" y="231429"/>
                  </a:cubicBezTo>
                  <a:lnTo>
                    <a:pt x="448118" y="275537"/>
                  </a:lnTo>
                  <a:lnTo>
                    <a:pt x="440419" y="303286"/>
                  </a:lnTo>
                  <a:close/>
                  <a:moveTo>
                    <a:pt x="497519" y="272650"/>
                  </a:moveTo>
                  <a:lnTo>
                    <a:pt x="481480" y="330873"/>
                  </a:lnTo>
                  <a:cubicBezTo>
                    <a:pt x="477951" y="343545"/>
                    <a:pt x="452609" y="336968"/>
                    <a:pt x="456138" y="323816"/>
                  </a:cubicBezTo>
                  <a:lnTo>
                    <a:pt x="472177" y="265593"/>
                  </a:lnTo>
                  <a:cubicBezTo>
                    <a:pt x="475866" y="252601"/>
                    <a:pt x="501208" y="259659"/>
                    <a:pt x="497519" y="272650"/>
                  </a:cubicBezTo>
                  <a:close/>
                  <a:moveTo>
                    <a:pt x="735704" y="388936"/>
                  </a:moveTo>
                  <a:lnTo>
                    <a:pt x="505378" y="322052"/>
                  </a:lnTo>
                  <a:lnTo>
                    <a:pt x="513398" y="292860"/>
                  </a:lnTo>
                  <a:lnTo>
                    <a:pt x="745488" y="353328"/>
                  </a:lnTo>
                  <a:cubicBezTo>
                    <a:pt x="774359" y="361027"/>
                    <a:pt x="764735" y="397437"/>
                    <a:pt x="735704" y="388936"/>
                  </a:cubicBezTo>
                  <a:close/>
                </a:path>
              </a:pathLst>
            </a:custGeom>
            <a:grpFill/>
            <a:ln w="16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175" name="Forma libre: forma 174">
              <a:extLst>
                <a:ext uri="{FF2B5EF4-FFF2-40B4-BE49-F238E27FC236}">
                  <a16:creationId xmlns:a16="http://schemas.microsoft.com/office/drawing/2014/main" id="{91B694DE-3EE3-4E59-B747-BE8F3902688A}"/>
                </a:ext>
              </a:extLst>
            </p:cNvPr>
            <p:cNvSpPr/>
            <p:nvPr/>
          </p:nvSpPr>
          <p:spPr>
            <a:xfrm>
              <a:off x="9417997" y="4616732"/>
              <a:ext cx="516468" cy="158790"/>
            </a:xfrm>
            <a:custGeom>
              <a:avLst/>
              <a:gdLst>
                <a:gd name="connsiteX0" fmla="*/ 10426 w 516468"/>
                <a:gd name="connsiteY0" fmla="*/ 158950 h 158789"/>
                <a:gd name="connsiteX1" fmla="*/ 506845 w 516468"/>
                <a:gd name="connsiteY1" fmla="*/ 158950 h 158789"/>
                <a:gd name="connsiteX2" fmla="*/ 517270 w 516468"/>
                <a:gd name="connsiteY2" fmla="*/ 148524 h 158789"/>
                <a:gd name="connsiteX3" fmla="*/ 517270 w 516468"/>
                <a:gd name="connsiteY3" fmla="*/ 79555 h 158789"/>
                <a:gd name="connsiteX4" fmla="*/ 506845 w 516468"/>
                <a:gd name="connsiteY4" fmla="*/ 69130 h 158789"/>
                <a:gd name="connsiteX5" fmla="*/ 472520 w 516468"/>
                <a:gd name="connsiteY5" fmla="*/ 69130 h 158789"/>
                <a:gd name="connsiteX6" fmla="*/ 472520 w 516468"/>
                <a:gd name="connsiteY6" fmla="*/ 10426 h 158789"/>
                <a:gd name="connsiteX7" fmla="*/ 462095 w 516468"/>
                <a:gd name="connsiteY7" fmla="*/ 0 h 158789"/>
                <a:gd name="connsiteX8" fmla="*/ 55175 w 516468"/>
                <a:gd name="connsiteY8" fmla="*/ 0 h 158789"/>
                <a:gd name="connsiteX9" fmla="*/ 44750 w 516468"/>
                <a:gd name="connsiteY9" fmla="*/ 10426 h 158789"/>
                <a:gd name="connsiteX10" fmla="*/ 44750 w 516468"/>
                <a:gd name="connsiteY10" fmla="*/ 69130 h 158789"/>
                <a:gd name="connsiteX11" fmla="*/ 10426 w 516468"/>
                <a:gd name="connsiteY11" fmla="*/ 69130 h 158789"/>
                <a:gd name="connsiteX12" fmla="*/ 0 w 516468"/>
                <a:gd name="connsiteY12" fmla="*/ 79555 h 158789"/>
                <a:gd name="connsiteX13" fmla="*/ 0 w 516468"/>
                <a:gd name="connsiteY13" fmla="*/ 148524 h 158789"/>
                <a:gd name="connsiteX14" fmla="*/ 10426 w 516468"/>
                <a:gd name="connsiteY14" fmla="*/ 158950 h 158789"/>
                <a:gd name="connsiteX15" fmla="*/ 65601 w 516468"/>
                <a:gd name="connsiteY15" fmla="*/ 21011 h 158789"/>
                <a:gd name="connsiteX16" fmla="*/ 451669 w 516468"/>
                <a:gd name="connsiteY16" fmla="*/ 21011 h 158789"/>
                <a:gd name="connsiteX17" fmla="*/ 451669 w 516468"/>
                <a:gd name="connsiteY17" fmla="*/ 69290 h 158789"/>
                <a:gd name="connsiteX18" fmla="*/ 65601 w 516468"/>
                <a:gd name="connsiteY18" fmla="*/ 69290 h 158789"/>
                <a:gd name="connsiteX19" fmla="*/ 65601 w 516468"/>
                <a:gd name="connsiteY19" fmla="*/ 21011 h 158789"/>
                <a:gd name="connsiteX20" fmla="*/ 20851 w 516468"/>
                <a:gd name="connsiteY20" fmla="*/ 89981 h 158789"/>
                <a:gd name="connsiteX21" fmla="*/ 496419 w 516468"/>
                <a:gd name="connsiteY21" fmla="*/ 89981 h 158789"/>
                <a:gd name="connsiteX22" fmla="*/ 496419 w 516468"/>
                <a:gd name="connsiteY22" fmla="*/ 138259 h 158789"/>
                <a:gd name="connsiteX23" fmla="*/ 20851 w 516468"/>
                <a:gd name="connsiteY23" fmla="*/ 138259 h 158789"/>
                <a:gd name="connsiteX24" fmla="*/ 20851 w 516468"/>
                <a:gd name="connsiteY24" fmla="*/ 89981 h 158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16468" h="158789">
                  <a:moveTo>
                    <a:pt x="10426" y="158950"/>
                  </a:moveTo>
                  <a:lnTo>
                    <a:pt x="506845" y="158950"/>
                  </a:lnTo>
                  <a:cubicBezTo>
                    <a:pt x="512619" y="158950"/>
                    <a:pt x="517270" y="154299"/>
                    <a:pt x="517270" y="148524"/>
                  </a:cubicBezTo>
                  <a:lnTo>
                    <a:pt x="517270" y="79555"/>
                  </a:lnTo>
                  <a:cubicBezTo>
                    <a:pt x="517270" y="73781"/>
                    <a:pt x="512619" y="69130"/>
                    <a:pt x="506845" y="69130"/>
                  </a:cubicBezTo>
                  <a:lnTo>
                    <a:pt x="472520" y="69130"/>
                  </a:lnTo>
                  <a:lnTo>
                    <a:pt x="472520" y="10426"/>
                  </a:lnTo>
                  <a:cubicBezTo>
                    <a:pt x="472520" y="4651"/>
                    <a:pt x="467869" y="0"/>
                    <a:pt x="462095" y="0"/>
                  </a:cubicBezTo>
                  <a:lnTo>
                    <a:pt x="55175" y="0"/>
                  </a:lnTo>
                  <a:cubicBezTo>
                    <a:pt x="49401" y="0"/>
                    <a:pt x="44750" y="4651"/>
                    <a:pt x="44750" y="10426"/>
                  </a:cubicBezTo>
                  <a:lnTo>
                    <a:pt x="44750" y="69130"/>
                  </a:lnTo>
                  <a:lnTo>
                    <a:pt x="10426" y="69130"/>
                  </a:lnTo>
                  <a:cubicBezTo>
                    <a:pt x="4651" y="69130"/>
                    <a:pt x="0" y="73781"/>
                    <a:pt x="0" y="79555"/>
                  </a:cubicBezTo>
                  <a:lnTo>
                    <a:pt x="0" y="148524"/>
                  </a:lnTo>
                  <a:cubicBezTo>
                    <a:pt x="160" y="154299"/>
                    <a:pt x="4812" y="158950"/>
                    <a:pt x="10426" y="158950"/>
                  </a:cubicBezTo>
                  <a:close/>
                  <a:moveTo>
                    <a:pt x="65601" y="21011"/>
                  </a:moveTo>
                  <a:lnTo>
                    <a:pt x="451669" y="21011"/>
                  </a:lnTo>
                  <a:lnTo>
                    <a:pt x="451669" y="69290"/>
                  </a:lnTo>
                  <a:lnTo>
                    <a:pt x="65601" y="69290"/>
                  </a:lnTo>
                  <a:lnTo>
                    <a:pt x="65601" y="21011"/>
                  </a:lnTo>
                  <a:close/>
                  <a:moveTo>
                    <a:pt x="20851" y="89981"/>
                  </a:moveTo>
                  <a:cubicBezTo>
                    <a:pt x="46194" y="89981"/>
                    <a:pt x="469312" y="89981"/>
                    <a:pt x="496419" y="89981"/>
                  </a:cubicBezTo>
                  <a:lnTo>
                    <a:pt x="496419" y="138259"/>
                  </a:lnTo>
                  <a:lnTo>
                    <a:pt x="20851" y="138259"/>
                  </a:lnTo>
                  <a:lnTo>
                    <a:pt x="20851" y="89981"/>
                  </a:lnTo>
                  <a:close/>
                </a:path>
              </a:pathLst>
            </a:custGeom>
            <a:grpFill/>
            <a:ln w="160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grpSp>
      <p:sp>
        <p:nvSpPr>
          <p:cNvPr id="176" name="Arco 175">
            <a:extLst>
              <a:ext uri="{FF2B5EF4-FFF2-40B4-BE49-F238E27FC236}">
                <a16:creationId xmlns:a16="http://schemas.microsoft.com/office/drawing/2014/main" id="{292F27F4-EACB-483A-8536-559B0F562F8B}"/>
              </a:ext>
            </a:extLst>
          </p:cNvPr>
          <p:cNvSpPr/>
          <p:nvPr/>
        </p:nvSpPr>
        <p:spPr>
          <a:xfrm rot="19721804">
            <a:off x="2256301" y="2933215"/>
            <a:ext cx="2967280" cy="1875685"/>
          </a:xfrm>
          <a:prstGeom prst="arc">
            <a:avLst>
              <a:gd name="adj1" fmla="val 10953749"/>
              <a:gd name="adj2" fmla="val 520292"/>
            </a:avLst>
          </a:prstGeom>
          <a:noFill/>
          <a:ln w="9525" cap="flat" cmpd="sng" algn="ctr">
            <a:solidFill>
              <a:srgbClr val="043A6C"/>
            </a:solidFill>
            <a:prstDash val="solid"/>
            <a:headEnd type="none"/>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a typeface="+mn-ea"/>
              <a:cs typeface="+mn-cs"/>
            </a:endParaRPr>
          </a:p>
        </p:txBody>
      </p:sp>
      <p:sp>
        <p:nvSpPr>
          <p:cNvPr id="177" name="CuadroTexto 176">
            <a:extLst>
              <a:ext uri="{FF2B5EF4-FFF2-40B4-BE49-F238E27FC236}">
                <a16:creationId xmlns:a16="http://schemas.microsoft.com/office/drawing/2014/main" id="{67D2E7D8-5746-4CD6-964B-2633C0CA83B3}"/>
              </a:ext>
            </a:extLst>
          </p:cNvPr>
          <p:cNvSpPr txBox="1"/>
          <p:nvPr/>
        </p:nvSpPr>
        <p:spPr>
          <a:xfrm>
            <a:off x="2394487" y="2869210"/>
            <a:ext cx="1568598" cy="600057"/>
          </a:xfrm>
          <a:prstGeom prst="rect">
            <a:avLst/>
          </a:prstGeom>
          <a:solidFill>
            <a:srgbClr val="0759A3">
              <a:lumMod val="20000"/>
              <a:lumOff val="80000"/>
            </a:srgbClr>
          </a:solidFill>
          <a:ln>
            <a:noFill/>
          </a:ln>
        </p:spPr>
        <p:txBody>
          <a:bodyPr wrap="square" lIns="33231" tIns="33231" rIns="33231" bIns="0" rtlCol="0">
            <a:spAutoFit/>
          </a:bodyPr>
          <a:lstStyle/>
          <a:p>
            <a:pPr marL="84992" marR="0" lvl="0" indent="-84992" defTabSz="914400" eaLnBrk="1" fontAlgn="auto" latinLnBrk="0" hangingPunct="1">
              <a:lnSpc>
                <a:spcPts val="1108"/>
              </a:lnSpc>
              <a:spcBef>
                <a:spcPts val="0"/>
              </a:spcBef>
              <a:spcAft>
                <a:spcPts val="0"/>
              </a:spcAft>
              <a:buClr>
                <a:srgbClr val="043A6C"/>
              </a:buClr>
              <a:buSzTx/>
              <a:buFont typeface="Arial" panose="020B0604020202020204" pitchFamily="34" charset="0"/>
              <a:buChar char="•"/>
              <a:tabLst/>
              <a:defRPr/>
            </a:pPr>
            <a:r>
              <a:rPr kumimoji="0" lang="es-ES" sz="1108" b="0" i="0" u="none" strike="noStrike" kern="0" cap="none" spc="0" normalizeH="0" baseline="0" noProof="0" dirty="0">
                <a:ln>
                  <a:noFill/>
                </a:ln>
                <a:solidFill>
                  <a:srgbClr val="4E4E4E">
                    <a:lumMod val="50000"/>
                  </a:srgbClr>
                </a:solidFill>
                <a:effectLst/>
                <a:uLnTx/>
                <a:uFillTx/>
                <a:latin typeface="+mj-lt"/>
              </a:rPr>
              <a:t>Presentación de escritos procesales, partes hospitalarios y atestados policiales</a:t>
            </a:r>
          </a:p>
        </p:txBody>
      </p:sp>
      <p:pic>
        <p:nvPicPr>
          <p:cNvPr id="178" name="Imagen 177">
            <a:extLst>
              <a:ext uri="{FF2B5EF4-FFF2-40B4-BE49-F238E27FC236}">
                <a16:creationId xmlns:a16="http://schemas.microsoft.com/office/drawing/2014/main" id="{03A2A76D-09B2-4D91-A530-D9D35A9F2BE0}"/>
              </a:ext>
            </a:extLst>
          </p:cNvPr>
          <p:cNvPicPr>
            <a:picLocks noChangeAspect="1"/>
          </p:cNvPicPr>
          <p:nvPr/>
        </p:nvPicPr>
        <p:blipFill>
          <a:blip r:embed="rId10">
            <a:duotone>
              <a:srgbClr val="FF2719">
                <a:shade val="45000"/>
                <a:satMod val="135000"/>
              </a:srgbClr>
              <a:prstClr val="white"/>
            </a:duotone>
          </a:blip>
          <a:stretch>
            <a:fillRect/>
          </a:stretch>
        </p:blipFill>
        <p:spPr>
          <a:xfrm>
            <a:off x="3003112" y="4550793"/>
            <a:ext cx="1600416" cy="1103735"/>
          </a:xfrm>
          <a:prstGeom prst="rect">
            <a:avLst/>
          </a:prstGeom>
        </p:spPr>
      </p:pic>
      <p:sp>
        <p:nvSpPr>
          <p:cNvPr id="179" name="Arco 178">
            <a:extLst>
              <a:ext uri="{FF2B5EF4-FFF2-40B4-BE49-F238E27FC236}">
                <a16:creationId xmlns:a16="http://schemas.microsoft.com/office/drawing/2014/main" id="{D1282303-F848-40ED-BC71-8DE9E7822813}"/>
              </a:ext>
            </a:extLst>
          </p:cNvPr>
          <p:cNvSpPr/>
          <p:nvPr/>
        </p:nvSpPr>
        <p:spPr>
          <a:xfrm rot="2865849">
            <a:off x="1535950" y="4129180"/>
            <a:ext cx="2880498" cy="310142"/>
          </a:xfrm>
          <a:prstGeom prst="arc">
            <a:avLst>
              <a:gd name="adj1" fmla="val 11440612"/>
              <a:gd name="adj2" fmla="val 20964757"/>
            </a:avLst>
          </a:prstGeom>
          <a:noFill/>
          <a:ln w="9525" cap="flat" cmpd="sng" algn="ctr">
            <a:solidFill>
              <a:srgbClr val="043A6C"/>
            </a:solidFill>
            <a:prstDash val="solid"/>
            <a:headEnd type="none"/>
            <a:tailEnd type="non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a typeface="+mn-ea"/>
              <a:cs typeface="+mn-cs"/>
            </a:endParaRPr>
          </a:p>
        </p:txBody>
      </p:sp>
      <p:pic>
        <p:nvPicPr>
          <p:cNvPr id="180" name="Imagen 179">
            <a:extLst>
              <a:ext uri="{FF2B5EF4-FFF2-40B4-BE49-F238E27FC236}">
                <a16:creationId xmlns:a16="http://schemas.microsoft.com/office/drawing/2014/main" id="{071D8F05-3231-4286-A609-91CEC0BA6EE9}"/>
              </a:ext>
            </a:extLst>
          </p:cNvPr>
          <p:cNvPicPr>
            <a:picLocks noChangeAspect="1"/>
          </p:cNvPicPr>
          <p:nvPr/>
        </p:nvPicPr>
        <p:blipFill>
          <a:blip r:embed="rId11">
            <a:duotone>
              <a:srgbClr val="043A6C">
                <a:shade val="45000"/>
                <a:satMod val="135000"/>
              </a:srgbClr>
              <a:prstClr val="white"/>
            </a:duotone>
          </a:blip>
          <a:stretch>
            <a:fillRect/>
          </a:stretch>
        </p:blipFill>
        <p:spPr>
          <a:xfrm>
            <a:off x="2123004" y="4480444"/>
            <a:ext cx="952242" cy="1103734"/>
          </a:xfrm>
          <a:prstGeom prst="rect">
            <a:avLst/>
          </a:prstGeom>
        </p:spPr>
      </p:pic>
      <p:sp>
        <p:nvSpPr>
          <p:cNvPr id="181" name="Rectángulo 180">
            <a:extLst>
              <a:ext uri="{FF2B5EF4-FFF2-40B4-BE49-F238E27FC236}">
                <a16:creationId xmlns:a16="http://schemas.microsoft.com/office/drawing/2014/main" id="{B2D24058-8A44-462D-9C6C-E76A9F08886E}"/>
              </a:ext>
            </a:extLst>
          </p:cNvPr>
          <p:cNvSpPr/>
          <p:nvPr/>
        </p:nvSpPr>
        <p:spPr>
          <a:xfrm>
            <a:off x="493468" y="3281645"/>
            <a:ext cx="1620000" cy="458993"/>
          </a:xfrm>
          <a:prstGeom prst="rect">
            <a:avLst/>
          </a:prstGeom>
          <a:solidFill>
            <a:srgbClr val="3EAB22">
              <a:lumMod val="20000"/>
              <a:lumOff val="80000"/>
            </a:srgbClr>
          </a:solidFill>
          <a:ln>
            <a:noFill/>
          </a:ln>
        </p:spPr>
        <p:txBody>
          <a:bodyPr wrap="square" lIns="33231" tIns="33231" rIns="33231" bIns="0" rtlCol="0">
            <a:spAutoFit/>
          </a:bodyPr>
          <a:lstStyle/>
          <a:p>
            <a:pPr marL="84992" marR="0" lvl="0" indent="-84992" defTabSz="914400" eaLnBrk="1" fontAlgn="auto" latinLnBrk="0" hangingPunct="1">
              <a:lnSpc>
                <a:spcPts val="1108"/>
              </a:lnSpc>
              <a:spcBef>
                <a:spcPts val="0"/>
              </a:spcBef>
              <a:spcAft>
                <a:spcPts val="0"/>
              </a:spcAft>
              <a:buClr>
                <a:srgbClr val="3EAB22">
                  <a:lumMod val="75000"/>
                </a:srgbClr>
              </a:buClr>
              <a:buSzTx/>
              <a:buFont typeface="Arial" panose="020B0604020202020204" pitchFamily="34" charset="0"/>
              <a:buChar char="•"/>
              <a:tabLst/>
              <a:defRPr/>
            </a:pPr>
            <a:r>
              <a:rPr kumimoji="0" lang="es-ES" sz="1108" b="0" i="0" u="none" strike="noStrike" kern="0" cap="none" spc="0" normalizeH="0" baseline="0" noProof="0" dirty="0">
                <a:ln>
                  <a:noFill/>
                </a:ln>
                <a:solidFill>
                  <a:srgbClr val="4E4E4E">
                    <a:lumMod val="50000"/>
                  </a:srgbClr>
                </a:solidFill>
                <a:effectLst/>
                <a:uLnTx/>
                <a:uFillTx/>
                <a:latin typeface="+mj-lt"/>
              </a:rPr>
              <a:t>Acceso y tramitación electrónica del expediente judicial</a:t>
            </a:r>
          </a:p>
        </p:txBody>
      </p:sp>
      <p:sp>
        <p:nvSpPr>
          <p:cNvPr id="183" name="Rectángulo 182">
            <a:extLst>
              <a:ext uri="{FF2B5EF4-FFF2-40B4-BE49-F238E27FC236}">
                <a16:creationId xmlns:a16="http://schemas.microsoft.com/office/drawing/2014/main" id="{8035EB89-CAD0-44E6-9DC8-96FC4612942F}"/>
              </a:ext>
            </a:extLst>
          </p:cNvPr>
          <p:cNvSpPr/>
          <p:nvPr/>
        </p:nvSpPr>
        <p:spPr>
          <a:xfrm>
            <a:off x="503055" y="5034305"/>
            <a:ext cx="1598700" cy="315684"/>
          </a:xfrm>
          <a:prstGeom prst="rect">
            <a:avLst/>
          </a:prstGeom>
          <a:solidFill>
            <a:srgbClr val="3EAB22">
              <a:lumMod val="20000"/>
              <a:lumOff val="80000"/>
            </a:srgbClr>
          </a:solidFill>
          <a:ln>
            <a:noFill/>
          </a:ln>
        </p:spPr>
        <p:txBody>
          <a:bodyPr wrap="square" lIns="33231" tIns="33231" rIns="33231" bIns="0" rtlCol="0">
            <a:spAutoFit/>
          </a:bodyPr>
          <a:lstStyle/>
          <a:p>
            <a:pPr marL="84992" marR="0" lvl="0" indent="-84992" defTabSz="914400" eaLnBrk="1" fontAlgn="auto" latinLnBrk="0" hangingPunct="1">
              <a:lnSpc>
                <a:spcPts val="1108"/>
              </a:lnSpc>
              <a:spcBef>
                <a:spcPts val="0"/>
              </a:spcBef>
              <a:spcAft>
                <a:spcPts val="0"/>
              </a:spcAft>
              <a:buClr>
                <a:srgbClr val="3EAB22">
                  <a:lumMod val="75000"/>
                </a:srgbClr>
              </a:buClr>
              <a:buSzTx/>
              <a:buFont typeface="Arial" panose="020B0604020202020204" pitchFamily="34" charset="0"/>
              <a:buChar char="•"/>
              <a:tabLst/>
              <a:defRPr/>
            </a:pPr>
            <a:r>
              <a:rPr kumimoji="0" lang="es-ES" sz="1108" b="0" i="0" u="none" strike="noStrike" kern="0" cap="none" spc="0" normalizeH="0" baseline="0" noProof="0" dirty="0">
                <a:ln>
                  <a:noFill/>
                </a:ln>
                <a:solidFill>
                  <a:srgbClr val="4E4E4E">
                    <a:lumMod val="50000"/>
                  </a:srgbClr>
                </a:solidFill>
                <a:effectLst/>
                <a:uLnTx/>
                <a:uFillTx/>
                <a:latin typeface="+mj-lt"/>
              </a:rPr>
              <a:t>Gestión de los pagos </a:t>
            </a:r>
          </a:p>
          <a:p>
            <a:pPr marR="0" lvl="0" defTabSz="914400" eaLnBrk="1" fontAlgn="auto" latinLnBrk="0" hangingPunct="1">
              <a:lnSpc>
                <a:spcPts val="1108"/>
              </a:lnSpc>
              <a:spcBef>
                <a:spcPts val="0"/>
              </a:spcBef>
              <a:spcAft>
                <a:spcPts val="0"/>
              </a:spcAft>
              <a:buClr>
                <a:srgbClr val="3EAB22">
                  <a:lumMod val="75000"/>
                </a:srgbClr>
              </a:buClr>
              <a:buSzTx/>
              <a:tabLst/>
              <a:defRPr/>
            </a:pPr>
            <a:r>
              <a:rPr kumimoji="0" lang="es-ES" sz="1108" b="0" i="0" u="none" strike="noStrike" kern="0" cap="none" spc="0" normalizeH="0" baseline="0" noProof="0" dirty="0">
                <a:ln>
                  <a:noFill/>
                </a:ln>
                <a:solidFill>
                  <a:srgbClr val="4E4E4E">
                    <a:lumMod val="50000"/>
                  </a:srgbClr>
                </a:solidFill>
                <a:effectLst/>
                <a:uLnTx/>
                <a:uFillTx/>
                <a:latin typeface="+mj-lt"/>
              </a:rPr>
              <a:t>de las nóminas</a:t>
            </a:r>
          </a:p>
        </p:txBody>
      </p:sp>
      <p:sp>
        <p:nvSpPr>
          <p:cNvPr id="184" name="Rectángulo 183">
            <a:extLst>
              <a:ext uri="{FF2B5EF4-FFF2-40B4-BE49-F238E27FC236}">
                <a16:creationId xmlns:a16="http://schemas.microsoft.com/office/drawing/2014/main" id="{4A9BE46A-4EB6-4C2C-ACCF-3F2DDA7BCF85}"/>
              </a:ext>
            </a:extLst>
          </p:cNvPr>
          <p:cNvSpPr/>
          <p:nvPr/>
        </p:nvSpPr>
        <p:spPr>
          <a:xfrm>
            <a:off x="503055" y="4497436"/>
            <a:ext cx="1620000" cy="317929"/>
          </a:xfrm>
          <a:prstGeom prst="rect">
            <a:avLst/>
          </a:prstGeom>
          <a:solidFill>
            <a:srgbClr val="3EAB22">
              <a:lumMod val="20000"/>
              <a:lumOff val="80000"/>
            </a:srgbClr>
          </a:solidFill>
          <a:ln>
            <a:noFill/>
          </a:ln>
        </p:spPr>
        <p:txBody>
          <a:bodyPr wrap="square" lIns="33231" tIns="33231" rIns="33231" bIns="0" rtlCol="0">
            <a:spAutoFit/>
          </a:bodyPr>
          <a:lstStyle/>
          <a:p>
            <a:pPr marL="84992" marR="0" lvl="0" indent="-84992" defTabSz="914400" eaLnBrk="1" fontAlgn="auto" latinLnBrk="0" hangingPunct="1">
              <a:lnSpc>
                <a:spcPts val="1108"/>
              </a:lnSpc>
              <a:spcBef>
                <a:spcPts val="0"/>
              </a:spcBef>
              <a:spcAft>
                <a:spcPts val="0"/>
              </a:spcAft>
              <a:buClr>
                <a:srgbClr val="3EAB22">
                  <a:lumMod val="75000"/>
                </a:srgbClr>
              </a:buClr>
              <a:buSzTx/>
              <a:buFont typeface="Arial" panose="020B0604020202020204" pitchFamily="34" charset="0"/>
              <a:buChar char="•"/>
              <a:tabLst/>
              <a:defRPr/>
            </a:pPr>
            <a:r>
              <a:rPr kumimoji="0" lang="es-ES" sz="1108" b="0" i="0" u="none" strike="noStrike" kern="0" cap="none" spc="0" normalizeH="0" baseline="0" noProof="0" dirty="0">
                <a:ln>
                  <a:noFill/>
                </a:ln>
                <a:solidFill>
                  <a:srgbClr val="4E4E4E">
                    <a:lumMod val="50000"/>
                  </a:srgbClr>
                </a:solidFill>
                <a:effectLst/>
                <a:uLnTx/>
                <a:uFillTx/>
                <a:latin typeface="+mj-lt"/>
              </a:rPr>
              <a:t>Gestión de la información toxicológica</a:t>
            </a:r>
          </a:p>
        </p:txBody>
      </p:sp>
      <p:grpSp>
        <p:nvGrpSpPr>
          <p:cNvPr id="185" name="Grupo 184">
            <a:extLst>
              <a:ext uri="{FF2B5EF4-FFF2-40B4-BE49-F238E27FC236}">
                <a16:creationId xmlns:a16="http://schemas.microsoft.com/office/drawing/2014/main" id="{9E56589A-E2CC-44D1-A904-9F96F3682355}"/>
              </a:ext>
            </a:extLst>
          </p:cNvPr>
          <p:cNvGrpSpPr/>
          <p:nvPr/>
        </p:nvGrpSpPr>
        <p:grpSpPr>
          <a:xfrm>
            <a:off x="15113" y="3218651"/>
            <a:ext cx="385646" cy="370549"/>
            <a:chOff x="-73022" y="4707784"/>
            <a:chExt cx="312697" cy="300456"/>
          </a:xfrm>
        </p:grpSpPr>
        <p:sp>
          <p:nvSpPr>
            <p:cNvPr id="186" name="Forma libre: forma 185">
              <a:extLst>
                <a:ext uri="{FF2B5EF4-FFF2-40B4-BE49-F238E27FC236}">
                  <a16:creationId xmlns:a16="http://schemas.microsoft.com/office/drawing/2014/main" id="{29BE244C-FD32-4777-855E-EC080D73EEB7}"/>
                </a:ext>
              </a:extLst>
            </p:cNvPr>
            <p:cNvSpPr/>
            <p:nvPr/>
          </p:nvSpPr>
          <p:spPr>
            <a:xfrm>
              <a:off x="-73022" y="4786572"/>
              <a:ext cx="261610" cy="220846"/>
            </a:xfrm>
            <a:custGeom>
              <a:avLst/>
              <a:gdLst>
                <a:gd name="connsiteX0" fmla="*/ 23026 w 463834"/>
                <a:gd name="connsiteY0" fmla="*/ 0 h 391558"/>
                <a:gd name="connsiteX1" fmla="*/ 739 w 463834"/>
                <a:gd name="connsiteY1" fmla="*/ 23027 h 391558"/>
                <a:gd name="connsiteX2" fmla="*/ 0 w 463834"/>
                <a:gd name="connsiteY2" fmla="*/ 391559 h 391558"/>
                <a:gd name="connsiteX3" fmla="*/ 463834 w 463834"/>
                <a:gd name="connsiteY3" fmla="*/ 119992 h 391558"/>
                <a:gd name="connsiteX4" fmla="*/ 462910 w 463834"/>
                <a:gd name="connsiteY4" fmla="*/ 68359 h 391558"/>
                <a:gd name="connsiteX5" fmla="*/ 440623 w 463834"/>
                <a:gd name="connsiteY5" fmla="*/ 46071 h 391558"/>
                <a:gd name="connsiteX6" fmla="*/ 414622 w 463834"/>
                <a:gd name="connsiteY6" fmla="*/ 46071 h 391558"/>
                <a:gd name="connsiteX7" fmla="*/ 71352 w 463834"/>
                <a:gd name="connsiteY7" fmla="*/ 0 h 391558"/>
                <a:gd name="connsiteX8" fmla="*/ 23026 w 463834"/>
                <a:gd name="connsiteY8" fmla="*/ 0 h 3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3834" h="391558">
                  <a:moveTo>
                    <a:pt x="23026" y="0"/>
                  </a:moveTo>
                  <a:cubicBezTo>
                    <a:pt x="14876" y="0"/>
                    <a:pt x="739" y="6339"/>
                    <a:pt x="739" y="23027"/>
                  </a:cubicBezTo>
                  <a:lnTo>
                    <a:pt x="0" y="391559"/>
                  </a:lnTo>
                  <a:lnTo>
                    <a:pt x="463834" y="119992"/>
                  </a:lnTo>
                  <a:cubicBezTo>
                    <a:pt x="463834" y="119992"/>
                    <a:pt x="462910" y="81313"/>
                    <a:pt x="462910" y="68359"/>
                  </a:cubicBezTo>
                  <a:cubicBezTo>
                    <a:pt x="462910" y="54240"/>
                    <a:pt x="448496" y="46108"/>
                    <a:pt x="440623" y="46071"/>
                  </a:cubicBezTo>
                  <a:cubicBezTo>
                    <a:pt x="415656" y="45960"/>
                    <a:pt x="414622" y="46071"/>
                    <a:pt x="414622" y="46071"/>
                  </a:cubicBezTo>
                  <a:lnTo>
                    <a:pt x="71352" y="0"/>
                  </a:lnTo>
                  <a:lnTo>
                    <a:pt x="23026" y="0"/>
                  </a:lnTo>
                  <a:close/>
                </a:path>
              </a:pathLst>
            </a:custGeom>
            <a:solidFill>
              <a:srgbClr val="DD9A14"/>
            </a:solidFill>
            <a:ln w="1847" cap="flat">
              <a:noFill/>
              <a:prstDash val="solid"/>
              <a:miter/>
            </a:ln>
          </p:spPr>
          <p:txBody>
            <a:bodyPr rtlCol="0" anchor="ctr"/>
            <a:lstStyle/>
            <a:p>
              <a:endParaRPr lang="es-ES" sz="1417">
                <a:solidFill>
                  <a:srgbClr val="4E4E4E"/>
                </a:solidFill>
                <a:latin typeface="+mj-lt"/>
              </a:endParaRPr>
            </a:p>
          </p:txBody>
        </p:sp>
        <p:sp>
          <p:nvSpPr>
            <p:cNvPr id="187" name="Forma libre: forma 186">
              <a:extLst>
                <a:ext uri="{FF2B5EF4-FFF2-40B4-BE49-F238E27FC236}">
                  <a16:creationId xmlns:a16="http://schemas.microsoft.com/office/drawing/2014/main" id="{D60C1168-EFE2-4C79-946A-C9A8C428A128}"/>
                </a:ext>
              </a:extLst>
            </p:cNvPr>
            <p:cNvSpPr/>
            <p:nvPr/>
          </p:nvSpPr>
          <p:spPr>
            <a:xfrm>
              <a:off x="-59618" y="4799569"/>
              <a:ext cx="235510" cy="178943"/>
            </a:xfrm>
            <a:custGeom>
              <a:avLst/>
              <a:gdLst>
                <a:gd name="connsiteX0" fmla="*/ 47550 w 417559"/>
                <a:gd name="connsiteY0" fmla="*/ 739 h 317267"/>
                <a:gd name="connsiteX1" fmla="*/ 20809 w 417559"/>
                <a:gd name="connsiteY1" fmla="*/ 0 h 317267"/>
                <a:gd name="connsiteX2" fmla="*/ 0 w 417559"/>
                <a:gd name="connsiteY2" fmla="*/ 17094 h 317267"/>
                <a:gd name="connsiteX3" fmla="*/ 1478 w 417559"/>
                <a:gd name="connsiteY3" fmla="*/ 317268 h 317267"/>
                <a:gd name="connsiteX4" fmla="*/ 417560 w 417559"/>
                <a:gd name="connsiteY4" fmla="*/ 93454 h 317267"/>
                <a:gd name="connsiteX5" fmla="*/ 417560 w 417559"/>
                <a:gd name="connsiteY5" fmla="*/ 56475 h 317267"/>
                <a:gd name="connsiteX6" fmla="*/ 405677 w 417559"/>
                <a:gd name="connsiteY6" fmla="*/ 46071 h 317267"/>
                <a:gd name="connsiteX7" fmla="*/ 390080 w 417559"/>
                <a:gd name="connsiteY7" fmla="*/ 46071 h 317267"/>
                <a:gd name="connsiteX8" fmla="*/ 58693 w 417559"/>
                <a:gd name="connsiteY8" fmla="*/ 24523 h 317267"/>
                <a:gd name="connsiteX9" fmla="*/ 47550 w 417559"/>
                <a:gd name="connsiteY9" fmla="*/ 739 h 317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7559" h="317267">
                  <a:moveTo>
                    <a:pt x="47550" y="739"/>
                  </a:moveTo>
                  <a:lnTo>
                    <a:pt x="20809" y="0"/>
                  </a:lnTo>
                  <a:cubicBezTo>
                    <a:pt x="20809" y="0"/>
                    <a:pt x="2236" y="0"/>
                    <a:pt x="0" y="17094"/>
                  </a:cubicBezTo>
                  <a:lnTo>
                    <a:pt x="1478" y="317268"/>
                  </a:lnTo>
                  <a:lnTo>
                    <a:pt x="417560" y="93454"/>
                  </a:lnTo>
                  <a:lnTo>
                    <a:pt x="417560" y="56475"/>
                  </a:lnTo>
                  <a:cubicBezTo>
                    <a:pt x="417560" y="47956"/>
                    <a:pt x="409355" y="46126"/>
                    <a:pt x="405677" y="46071"/>
                  </a:cubicBezTo>
                  <a:cubicBezTo>
                    <a:pt x="392113" y="45849"/>
                    <a:pt x="390080" y="46071"/>
                    <a:pt x="390080" y="46071"/>
                  </a:cubicBezTo>
                  <a:lnTo>
                    <a:pt x="58693" y="24523"/>
                  </a:lnTo>
                  <a:lnTo>
                    <a:pt x="47550" y="739"/>
                  </a:lnTo>
                  <a:close/>
                </a:path>
              </a:pathLst>
            </a:custGeom>
            <a:solidFill>
              <a:srgbClr val="FFFFFF"/>
            </a:solidFill>
            <a:ln w="1847" cap="flat">
              <a:noFill/>
              <a:prstDash val="solid"/>
              <a:miter/>
            </a:ln>
          </p:spPr>
          <p:txBody>
            <a:bodyPr rtlCol="0" anchor="ctr"/>
            <a:lstStyle/>
            <a:p>
              <a:endParaRPr lang="es-ES" sz="1417">
                <a:solidFill>
                  <a:srgbClr val="4E4E4E"/>
                </a:solidFill>
                <a:latin typeface="+mj-lt"/>
              </a:endParaRPr>
            </a:p>
          </p:txBody>
        </p:sp>
        <p:sp>
          <p:nvSpPr>
            <p:cNvPr id="188" name="Forma libre: forma 187">
              <a:extLst>
                <a:ext uri="{FF2B5EF4-FFF2-40B4-BE49-F238E27FC236}">
                  <a16:creationId xmlns:a16="http://schemas.microsoft.com/office/drawing/2014/main" id="{36EBBE21-5F82-4D10-A82D-C692006D7629}"/>
                </a:ext>
              </a:extLst>
            </p:cNvPr>
            <p:cNvSpPr/>
            <p:nvPr/>
          </p:nvSpPr>
          <p:spPr>
            <a:xfrm>
              <a:off x="-33945" y="4707784"/>
              <a:ext cx="195184" cy="216874"/>
            </a:xfrm>
            <a:custGeom>
              <a:avLst/>
              <a:gdLst>
                <a:gd name="connsiteX0" fmla="*/ 346060 w 346060"/>
                <a:gd name="connsiteY0" fmla="*/ 384518 h 384517"/>
                <a:gd name="connsiteX1" fmla="*/ 0 w 346060"/>
                <a:gd name="connsiteY1" fmla="*/ 384518 h 384517"/>
                <a:gd name="connsiteX2" fmla="*/ 0 w 346060"/>
                <a:gd name="connsiteY2" fmla="*/ 0 h 384517"/>
                <a:gd name="connsiteX3" fmla="*/ 268037 w 346060"/>
                <a:gd name="connsiteY3" fmla="*/ 0 h 384517"/>
                <a:gd name="connsiteX4" fmla="*/ 304258 w 346060"/>
                <a:gd name="connsiteY4" fmla="*/ 38457 h 384517"/>
                <a:gd name="connsiteX5" fmla="*/ 346060 w 346060"/>
                <a:gd name="connsiteY5" fmla="*/ 80241 h 384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6060" h="384517">
                  <a:moveTo>
                    <a:pt x="346060" y="384518"/>
                  </a:moveTo>
                  <a:lnTo>
                    <a:pt x="0" y="384518"/>
                  </a:lnTo>
                  <a:lnTo>
                    <a:pt x="0" y="0"/>
                  </a:lnTo>
                  <a:lnTo>
                    <a:pt x="268037" y="0"/>
                  </a:lnTo>
                  <a:lnTo>
                    <a:pt x="304258" y="38457"/>
                  </a:lnTo>
                  <a:lnTo>
                    <a:pt x="346060" y="80241"/>
                  </a:lnTo>
                  <a:close/>
                </a:path>
              </a:pathLst>
            </a:custGeom>
            <a:solidFill>
              <a:srgbClr val="FFFFA6"/>
            </a:solidFill>
            <a:ln w="1847" cap="flat">
              <a:noFill/>
              <a:prstDash val="solid"/>
              <a:miter/>
            </a:ln>
          </p:spPr>
          <p:txBody>
            <a:bodyPr rtlCol="0" anchor="ctr"/>
            <a:lstStyle/>
            <a:p>
              <a:endParaRPr lang="es-ES" sz="1417">
                <a:solidFill>
                  <a:srgbClr val="4E4E4E"/>
                </a:solidFill>
                <a:latin typeface="+mj-lt"/>
              </a:endParaRPr>
            </a:p>
          </p:txBody>
        </p:sp>
        <p:sp>
          <p:nvSpPr>
            <p:cNvPr id="189" name="Forma libre: forma 188">
              <a:extLst>
                <a:ext uri="{FF2B5EF4-FFF2-40B4-BE49-F238E27FC236}">
                  <a16:creationId xmlns:a16="http://schemas.microsoft.com/office/drawing/2014/main" id="{F5D70E99-3DBE-46E1-A27D-7D66EC0596CC}"/>
                </a:ext>
              </a:extLst>
            </p:cNvPr>
            <p:cNvSpPr/>
            <p:nvPr/>
          </p:nvSpPr>
          <p:spPr>
            <a:xfrm>
              <a:off x="117231" y="4707784"/>
              <a:ext cx="44006" cy="45256"/>
            </a:xfrm>
            <a:custGeom>
              <a:avLst/>
              <a:gdLst>
                <a:gd name="connsiteX0" fmla="*/ 0 w 78023"/>
                <a:gd name="connsiteY0" fmla="*/ 80241 h 80240"/>
                <a:gd name="connsiteX1" fmla="*/ 78024 w 78023"/>
                <a:gd name="connsiteY1" fmla="*/ 80241 h 80240"/>
                <a:gd name="connsiteX2" fmla="*/ 0 w 78023"/>
                <a:gd name="connsiteY2" fmla="*/ 0 h 80240"/>
              </a:gdLst>
              <a:ahLst/>
              <a:cxnLst>
                <a:cxn ang="0">
                  <a:pos x="connsiteX0" y="connsiteY0"/>
                </a:cxn>
                <a:cxn ang="0">
                  <a:pos x="connsiteX1" y="connsiteY1"/>
                </a:cxn>
                <a:cxn ang="0">
                  <a:pos x="connsiteX2" y="connsiteY2"/>
                </a:cxn>
              </a:cxnLst>
              <a:rect l="l" t="t" r="r" b="b"/>
              <a:pathLst>
                <a:path w="78023" h="80240">
                  <a:moveTo>
                    <a:pt x="0" y="80241"/>
                  </a:moveTo>
                  <a:lnTo>
                    <a:pt x="78024" y="80241"/>
                  </a:lnTo>
                  <a:lnTo>
                    <a:pt x="0" y="0"/>
                  </a:lnTo>
                  <a:close/>
                </a:path>
              </a:pathLst>
            </a:custGeom>
            <a:solidFill>
              <a:srgbClr val="DDCF8A"/>
            </a:solidFill>
            <a:ln w="1847" cap="flat">
              <a:noFill/>
              <a:prstDash val="solid"/>
              <a:miter/>
            </a:ln>
          </p:spPr>
          <p:txBody>
            <a:bodyPr rtlCol="0" anchor="ctr"/>
            <a:lstStyle/>
            <a:p>
              <a:endParaRPr lang="es-ES" sz="1417">
                <a:solidFill>
                  <a:srgbClr val="4E4E4E"/>
                </a:solidFill>
                <a:latin typeface="+mj-lt"/>
              </a:endParaRPr>
            </a:p>
          </p:txBody>
        </p:sp>
        <p:sp>
          <p:nvSpPr>
            <p:cNvPr id="190" name="Forma libre: forma 189">
              <a:extLst>
                <a:ext uri="{FF2B5EF4-FFF2-40B4-BE49-F238E27FC236}">
                  <a16:creationId xmlns:a16="http://schemas.microsoft.com/office/drawing/2014/main" id="{E91F569A-56B7-45CC-B7A4-AF0CCA626585}"/>
                </a:ext>
              </a:extLst>
            </p:cNvPr>
            <p:cNvSpPr/>
            <p:nvPr/>
          </p:nvSpPr>
          <p:spPr>
            <a:xfrm>
              <a:off x="-73022" y="4851935"/>
              <a:ext cx="312697" cy="156305"/>
            </a:xfrm>
            <a:custGeom>
              <a:avLst/>
              <a:gdLst>
                <a:gd name="connsiteX0" fmla="*/ 0 w 554412"/>
                <a:gd name="connsiteY0" fmla="*/ 275669 h 277128"/>
                <a:gd name="connsiteX1" fmla="*/ 104025 w 554412"/>
                <a:gd name="connsiteY1" fmla="*/ 37903 h 277128"/>
                <a:gd name="connsiteX2" fmla="*/ 151574 w 554412"/>
                <a:gd name="connsiteY2" fmla="*/ 0 h 277128"/>
                <a:gd name="connsiteX3" fmla="*/ 526057 w 554412"/>
                <a:gd name="connsiteY3" fmla="*/ 739 h 277128"/>
                <a:gd name="connsiteX4" fmla="*/ 554295 w 554412"/>
                <a:gd name="connsiteY4" fmla="*/ 37884 h 277128"/>
                <a:gd name="connsiteX5" fmla="*/ 452506 w 554412"/>
                <a:gd name="connsiteY5" fmla="*/ 277129 h 277128"/>
                <a:gd name="connsiteX6" fmla="*/ 0 w 554412"/>
                <a:gd name="connsiteY6" fmla="*/ 275669 h 277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4412" h="277128">
                  <a:moveTo>
                    <a:pt x="0" y="275669"/>
                  </a:moveTo>
                  <a:lnTo>
                    <a:pt x="104025" y="37903"/>
                  </a:lnTo>
                  <a:cubicBezTo>
                    <a:pt x="104025" y="37903"/>
                    <a:pt x="116665" y="5211"/>
                    <a:pt x="151574" y="0"/>
                  </a:cubicBezTo>
                  <a:lnTo>
                    <a:pt x="526057" y="739"/>
                  </a:lnTo>
                  <a:cubicBezTo>
                    <a:pt x="526057" y="739"/>
                    <a:pt x="556531" y="739"/>
                    <a:pt x="554295" y="37884"/>
                  </a:cubicBezTo>
                  <a:lnTo>
                    <a:pt x="452506" y="277129"/>
                  </a:lnTo>
                  <a:lnTo>
                    <a:pt x="0" y="275669"/>
                  </a:lnTo>
                  <a:close/>
                </a:path>
              </a:pathLst>
            </a:custGeom>
            <a:solidFill>
              <a:srgbClr val="F9B821"/>
            </a:solidFill>
            <a:ln w="1847" cap="flat">
              <a:noFill/>
              <a:prstDash val="solid"/>
              <a:miter/>
            </a:ln>
          </p:spPr>
          <p:txBody>
            <a:bodyPr rtlCol="0" anchor="ctr"/>
            <a:lstStyle/>
            <a:p>
              <a:endParaRPr lang="es-ES" sz="1417">
                <a:solidFill>
                  <a:srgbClr val="4E4E4E"/>
                </a:solidFill>
                <a:latin typeface="+mj-lt"/>
              </a:endParaRPr>
            </a:p>
          </p:txBody>
        </p:sp>
        <p:sp>
          <p:nvSpPr>
            <p:cNvPr id="191" name="Forma libre: forma 190">
              <a:extLst>
                <a:ext uri="{FF2B5EF4-FFF2-40B4-BE49-F238E27FC236}">
                  <a16:creationId xmlns:a16="http://schemas.microsoft.com/office/drawing/2014/main" id="{E0947E2F-D0ED-4F42-A694-C15310B6D0CA}"/>
                </a:ext>
              </a:extLst>
            </p:cNvPr>
            <p:cNvSpPr/>
            <p:nvPr/>
          </p:nvSpPr>
          <p:spPr>
            <a:xfrm>
              <a:off x="-14893" y="4731601"/>
              <a:ext cx="107003" cy="11361"/>
            </a:xfrm>
            <a:custGeom>
              <a:avLst/>
              <a:gdLst>
                <a:gd name="connsiteX0" fmla="*/ 189718 w 189717"/>
                <a:gd name="connsiteY0" fmla="*/ 10072 h 20143"/>
                <a:gd name="connsiteX1" fmla="*/ 179646 w 189717"/>
                <a:gd name="connsiteY1" fmla="*/ 20144 h 20143"/>
                <a:gd name="connsiteX2" fmla="*/ 10072 w 189717"/>
                <a:gd name="connsiteY2" fmla="*/ 20144 h 20143"/>
                <a:gd name="connsiteX3" fmla="*/ 0 w 189717"/>
                <a:gd name="connsiteY3" fmla="*/ 10072 h 20143"/>
                <a:gd name="connsiteX4" fmla="*/ 10072 w 189717"/>
                <a:gd name="connsiteY4" fmla="*/ 0 h 20143"/>
                <a:gd name="connsiteX5" fmla="*/ 179646 w 189717"/>
                <a:gd name="connsiteY5" fmla="*/ 0 h 20143"/>
                <a:gd name="connsiteX6" fmla="*/ 189718 w 189717"/>
                <a:gd name="connsiteY6" fmla="*/ 10072 h 2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717" h="20143">
                  <a:moveTo>
                    <a:pt x="189718" y="10072"/>
                  </a:moveTo>
                  <a:cubicBezTo>
                    <a:pt x="189718" y="15635"/>
                    <a:pt x="185209" y="20144"/>
                    <a:pt x="179646" y="20144"/>
                  </a:cubicBezTo>
                  <a:lnTo>
                    <a:pt x="10072" y="20144"/>
                  </a:lnTo>
                  <a:cubicBezTo>
                    <a:pt x="4509" y="20144"/>
                    <a:pt x="0" y="15635"/>
                    <a:pt x="0" y="10072"/>
                  </a:cubicBezTo>
                  <a:cubicBezTo>
                    <a:pt x="0" y="4510"/>
                    <a:pt x="4509" y="0"/>
                    <a:pt x="10072" y="0"/>
                  </a:cubicBezTo>
                  <a:lnTo>
                    <a:pt x="179646" y="0"/>
                  </a:lnTo>
                  <a:cubicBezTo>
                    <a:pt x="185209" y="0"/>
                    <a:pt x="189718" y="4510"/>
                    <a:pt x="189718" y="10072"/>
                  </a:cubicBezTo>
                </a:path>
              </a:pathLst>
            </a:custGeom>
            <a:solidFill>
              <a:srgbClr val="BFB279"/>
            </a:solidFill>
            <a:ln w="1847" cap="flat">
              <a:noFill/>
              <a:prstDash val="solid"/>
              <a:miter/>
            </a:ln>
          </p:spPr>
          <p:txBody>
            <a:bodyPr rtlCol="0" anchor="ctr"/>
            <a:lstStyle/>
            <a:p>
              <a:endParaRPr lang="es-ES" sz="1417">
                <a:solidFill>
                  <a:srgbClr val="4E4E4E"/>
                </a:solidFill>
                <a:latin typeface="+mj-lt"/>
              </a:endParaRPr>
            </a:p>
          </p:txBody>
        </p:sp>
        <p:sp>
          <p:nvSpPr>
            <p:cNvPr id="192" name="Forma libre: forma 191">
              <a:extLst>
                <a:ext uri="{FF2B5EF4-FFF2-40B4-BE49-F238E27FC236}">
                  <a16:creationId xmlns:a16="http://schemas.microsoft.com/office/drawing/2014/main" id="{4BE57B38-2D13-4A61-BEB9-C42BA4CAE472}"/>
                </a:ext>
              </a:extLst>
            </p:cNvPr>
            <p:cNvSpPr/>
            <p:nvPr/>
          </p:nvSpPr>
          <p:spPr>
            <a:xfrm>
              <a:off x="-14882" y="4762745"/>
              <a:ext cx="124587" cy="11361"/>
            </a:xfrm>
            <a:custGeom>
              <a:avLst/>
              <a:gdLst>
                <a:gd name="connsiteX0" fmla="*/ 220894 w 220893"/>
                <a:gd name="connsiteY0" fmla="*/ 10072 h 20143"/>
                <a:gd name="connsiteX1" fmla="*/ 209159 w 220893"/>
                <a:gd name="connsiteY1" fmla="*/ 20143 h 20143"/>
                <a:gd name="connsiteX2" fmla="*/ 11717 w 220893"/>
                <a:gd name="connsiteY2" fmla="*/ 20143 h 20143"/>
                <a:gd name="connsiteX3" fmla="*/ 0 w 220893"/>
                <a:gd name="connsiteY3" fmla="*/ 10072 h 20143"/>
                <a:gd name="connsiteX4" fmla="*/ 11717 w 220893"/>
                <a:gd name="connsiteY4" fmla="*/ 0 h 20143"/>
                <a:gd name="connsiteX5" fmla="*/ 209159 w 220893"/>
                <a:gd name="connsiteY5" fmla="*/ 0 h 20143"/>
                <a:gd name="connsiteX6" fmla="*/ 220894 w 220893"/>
                <a:gd name="connsiteY6" fmla="*/ 10072 h 2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893" h="20143">
                  <a:moveTo>
                    <a:pt x="220894" y="10072"/>
                  </a:moveTo>
                  <a:cubicBezTo>
                    <a:pt x="220894" y="15634"/>
                    <a:pt x="215646" y="20143"/>
                    <a:pt x="209159" y="20143"/>
                  </a:cubicBezTo>
                  <a:lnTo>
                    <a:pt x="11717" y="20143"/>
                  </a:lnTo>
                  <a:cubicBezTo>
                    <a:pt x="5249" y="20143"/>
                    <a:pt x="0" y="15634"/>
                    <a:pt x="0" y="10072"/>
                  </a:cubicBezTo>
                  <a:cubicBezTo>
                    <a:pt x="0" y="4509"/>
                    <a:pt x="5249" y="0"/>
                    <a:pt x="11717" y="0"/>
                  </a:cubicBezTo>
                  <a:lnTo>
                    <a:pt x="209159" y="0"/>
                  </a:lnTo>
                  <a:cubicBezTo>
                    <a:pt x="215646" y="18"/>
                    <a:pt x="220894" y="4528"/>
                    <a:pt x="220894" y="10072"/>
                  </a:cubicBezTo>
                </a:path>
              </a:pathLst>
            </a:custGeom>
            <a:solidFill>
              <a:srgbClr val="BFB279"/>
            </a:solidFill>
            <a:ln w="1847" cap="flat">
              <a:noFill/>
              <a:prstDash val="solid"/>
              <a:miter/>
            </a:ln>
          </p:spPr>
          <p:txBody>
            <a:bodyPr rtlCol="0" anchor="ctr"/>
            <a:lstStyle/>
            <a:p>
              <a:endParaRPr lang="es-ES" sz="1417">
                <a:solidFill>
                  <a:srgbClr val="4E4E4E"/>
                </a:solidFill>
                <a:latin typeface="+mj-lt"/>
              </a:endParaRPr>
            </a:p>
          </p:txBody>
        </p:sp>
        <p:sp>
          <p:nvSpPr>
            <p:cNvPr id="193" name="Forma libre: forma 192">
              <a:extLst>
                <a:ext uri="{FF2B5EF4-FFF2-40B4-BE49-F238E27FC236}">
                  <a16:creationId xmlns:a16="http://schemas.microsoft.com/office/drawing/2014/main" id="{F17CF10B-8791-4B37-85E4-AF2BFF501572}"/>
                </a:ext>
              </a:extLst>
            </p:cNvPr>
            <p:cNvSpPr/>
            <p:nvPr/>
          </p:nvSpPr>
          <p:spPr>
            <a:xfrm>
              <a:off x="-14882" y="4793899"/>
              <a:ext cx="124587" cy="11361"/>
            </a:xfrm>
            <a:custGeom>
              <a:avLst/>
              <a:gdLst>
                <a:gd name="connsiteX0" fmla="*/ 220894 w 220893"/>
                <a:gd name="connsiteY0" fmla="*/ 10072 h 20143"/>
                <a:gd name="connsiteX1" fmla="*/ 209159 w 220893"/>
                <a:gd name="connsiteY1" fmla="*/ 20144 h 20143"/>
                <a:gd name="connsiteX2" fmla="*/ 11717 w 220893"/>
                <a:gd name="connsiteY2" fmla="*/ 20144 h 20143"/>
                <a:gd name="connsiteX3" fmla="*/ 0 w 220893"/>
                <a:gd name="connsiteY3" fmla="*/ 10072 h 20143"/>
                <a:gd name="connsiteX4" fmla="*/ 11717 w 220893"/>
                <a:gd name="connsiteY4" fmla="*/ 0 h 20143"/>
                <a:gd name="connsiteX5" fmla="*/ 209159 w 220893"/>
                <a:gd name="connsiteY5" fmla="*/ 0 h 20143"/>
                <a:gd name="connsiteX6" fmla="*/ 220894 w 220893"/>
                <a:gd name="connsiteY6" fmla="*/ 10072 h 2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893" h="20143">
                  <a:moveTo>
                    <a:pt x="220894" y="10072"/>
                  </a:moveTo>
                  <a:cubicBezTo>
                    <a:pt x="220894" y="15635"/>
                    <a:pt x="215646" y="20144"/>
                    <a:pt x="209159" y="20144"/>
                  </a:cubicBezTo>
                  <a:lnTo>
                    <a:pt x="11717" y="20144"/>
                  </a:lnTo>
                  <a:cubicBezTo>
                    <a:pt x="5249" y="20144"/>
                    <a:pt x="0" y="15635"/>
                    <a:pt x="0" y="10072"/>
                  </a:cubicBezTo>
                  <a:cubicBezTo>
                    <a:pt x="0" y="4510"/>
                    <a:pt x="5249" y="0"/>
                    <a:pt x="11717" y="0"/>
                  </a:cubicBezTo>
                  <a:lnTo>
                    <a:pt x="209159" y="0"/>
                  </a:lnTo>
                  <a:cubicBezTo>
                    <a:pt x="215646" y="0"/>
                    <a:pt x="220894" y="4510"/>
                    <a:pt x="220894" y="10072"/>
                  </a:cubicBezTo>
                </a:path>
              </a:pathLst>
            </a:custGeom>
            <a:solidFill>
              <a:srgbClr val="BFB279"/>
            </a:solidFill>
            <a:ln w="1847" cap="flat">
              <a:noFill/>
              <a:prstDash val="solid"/>
              <a:miter/>
            </a:ln>
          </p:spPr>
          <p:txBody>
            <a:bodyPr rtlCol="0" anchor="ctr"/>
            <a:lstStyle/>
            <a:p>
              <a:endParaRPr lang="es-ES" sz="1417">
                <a:solidFill>
                  <a:srgbClr val="4E4E4E"/>
                </a:solidFill>
                <a:latin typeface="+mj-lt"/>
              </a:endParaRPr>
            </a:p>
          </p:txBody>
        </p:sp>
        <p:sp>
          <p:nvSpPr>
            <p:cNvPr id="194" name="Forma libre: forma 193">
              <a:extLst>
                <a:ext uri="{FF2B5EF4-FFF2-40B4-BE49-F238E27FC236}">
                  <a16:creationId xmlns:a16="http://schemas.microsoft.com/office/drawing/2014/main" id="{C05598A7-6DD1-4034-A9A8-8D98760F86C2}"/>
                </a:ext>
              </a:extLst>
            </p:cNvPr>
            <p:cNvSpPr/>
            <p:nvPr/>
          </p:nvSpPr>
          <p:spPr>
            <a:xfrm>
              <a:off x="-14882" y="4825044"/>
              <a:ext cx="124587" cy="11361"/>
            </a:xfrm>
            <a:custGeom>
              <a:avLst/>
              <a:gdLst>
                <a:gd name="connsiteX0" fmla="*/ 220894 w 220893"/>
                <a:gd name="connsiteY0" fmla="*/ 10072 h 20143"/>
                <a:gd name="connsiteX1" fmla="*/ 209159 w 220893"/>
                <a:gd name="connsiteY1" fmla="*/ 20143 h 20143"/>
                <a:gd name="connsiteX2" fmla="*/ 11717 w 220893"/>
                <a:gd name="connsiteY2" fmla="*/ 20143 h 20143"/>
                <a:gd name="connsiteX3" fmla="*/ 0 w 220893"/>
                <a:gd name="connsiteY3" fmla="*/ 10072 h 20143"/>
                <a:gd name="connsiteX4" fmla="*/ 11717 w 220893"/>
                <a:gd name="connsiteY4" fmla="*/ 0 h 20143"/>
                <a:gd name="connsiteX5" fmla="*/ 209159 w 220893"/>
                <a:gd name="connsiteY5" fmla="*/ 0 h 20143"/>
                <a:gd name="connsiteX6" fmla="*/ 220894 w 220893"/>
                <a:gd name="connsiteY6" fmla="*/ 10072 h 20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893" h="20143">
                  <a:moveTo>
                    <a:pt x="220894" y="10072"/>
                  </a:moveTo>
                  <a:cubicBezTo>
                    <a:pt x="220894" y="15634"/>
                    <a:pt x="215646" y="20143"/>
                    <a:pt x="209159" y="20143"/>
                  </a:cubicBezTo>
                  <a:lnTo>
                    <a:pt x="11717" y="20143"/>
                  </a:lnTo>
                  <a:cubicBezTo>
                    <a:pt x="5249" y="20143"/>
                    <a:pt x="0" y="15634"/>
                    <a:pt x="0" y="10072"/>
                  </a:cubicBezTo>
                  <a:cubicBezTo>
                    <a:pt x="0" y="4509"/>
                    <a:pt x="5249" y="0"/>
                    <a:pt x="11717" y="0"/>
                  </a:cubicBezTo>
                  <a:lnTo>
                    <a:pt x="209159" y="0"/>
                  </a:lnTo>
                  <a:cubicBezTo>
                    <a:pt x="215646" y="0"/>
                    <a:pt x="220894" y="4509"/>
                    <a:pt x="220894" y="10072"/>
                  </a:cubicBezTo>
                </a:path>
              </a:pathLst>
            </a:custGeom>
            <a:solidFill>
              <a:srgbClr val="BFB279"/>
            </a:solidFill>
            <a:ln w="1847" cap="flat">
              <a:noFill/>
              <a:prstDash val="solid"/>
              <a:miter/>
            </a:ln>
          </p:spPr>
          <p:txBody>
            <a:bodyPr rtlCol="0" anchor="ctr"/>
            <a:lstStyle/>
            <a:p>
              <a:endParaRPr lang="es-ES" sz="1417">
                <a:solidFill>
                  <a:srgbClr val="4E4E4E"/>
                </a:solidFill>
                <a:latin typeface="+mj-lt"/>
              </a:endParaRPr>
            </a:p>
          </p:txBody>
        </p:sp>
      </p:grpSp>
      <p:grpSp>
        <p:nvGrpSpPr>
          <p:cNvPr id="195" name="Grupo 194">
            <a:extLst>
              <a:ext uri="{FF2B5EF4-FFF2-40B4-BE49-F238E27FC236}">
                <a16:creationId xmlns:a16="http://schemas.microsoft.com/office/drawing/2014/main" id="{68AE88B0-83C3-42DB-BB49-632C1621C77C}"/>
              </a:ext>
            </a:extLst>
          </p:cNvPr>
          <p:cNvGrpSpPr/>
          <p:nvPr/>
        </p:nvGrpSpPr>
        <p:grpSpPr>
          <a:xfrm>
            <a:off x="13459" y="3902389"/>
            <a:ext cx="389856" cy="354383"/>
            <a:chOff x="-114167" y="5160127"/>
            <a:chExt cx="327950" cy="298109"/>
          </a:xfrm>
        </p:grpSpPr>
        <p:grpSp>
          <p:nvGrpSpPr>
            <p:cNvPr id="196" name="Gráfico 3">
              <a:extLst>
                <a:ext uri="{FF2B5EF4-FFF2-40B4-BE49-F238E27FC236}">
                  <a16:creationId xmlns:a16="http://schemas.microsoft.com/office/drawing/2014/main" id="{F01E3F73-CC12-4C16-A85D-0844AFF9230E}"/>
                </a:ext>
              </a:extLst>
            </p:cNvPr>
            <p:cNvGrpSpPr/>
            <p:nvPr/>
          </p:nvGrpSpPr>
          <p:grpSpPr>
            <a:xfrm>
              <a:off x="-114167" y="5160127"/>
              <a:ext cx="163975" cy="298109"/>
              <a:chOff x="3615295" y="4457414"/>
              <a:chExt cx="522351" cy="949642"/>
            </a:xfrm>
            <a:solidFill>
              <a:srgbClr val="043A6C"/>
            </a:solidFill>
          </p:grpSpPr>
          <p:sp>
            <p:nvSpPr>
              <p:cNvPr id="211" name="Forma libre: forma 210">
                <a:extLst>
                  <a:ext uri="{FF2B5EF4-FFF2-40B4-BE49-F238E27FC236}">
                    <a16:creationId xmlns:a16="http://schemas.microsoft.com/office/drawing/2014/main" id="{4FC4E32B-1A78-48E5-8E4D-B87D65902309}"/>
                  </a:ext>
                </a:extLst>
              </p:cNvPr>
              <p:cNvSpPr/>
              <p:nvPr/>
            </p:nvSpPr>
            <p:spPr>
              <a:xfrm>
                <a:off x="3638059" y="5097780"/>
                <a:ext cx="277653" cy="86867"/>
              </a:xfrm>
              <a:custGeom>
                <a:avLst/>
                <a:gdLst>
                  <a:gd name="connsiteX0" fmla="*/ 138970 w 277653"/>
                  <a:gd name="connsiteY0" fmla="*/ 86868 h 86867"/>
                  <a:gd name="connsiteX1" fmla="*/ 277654 w 277653"/>
                  <a:gd name="connsiteY1" fmla="*/ 0 h 86867"/>
                  <a:gd name="connsiteX2" fmla="*/ 0 w 277653"/>
                  <a:gd name="connsiteY2" fmla="*/ 0 h 86867"/>
                  <a:gd name="connsiteX3" fmla="*/ 138970 w 277653"/>
                  <a:gd name="connsiteY3" fmla="*/ 86868 h 86867"/>
                </a:gdLst>
                <a:ahLst/>
                <a:cxnLst>
                  <a:cxn ang="0">
                    <a:pos x="connsiteX0" y="connsiteY0"/>
                  </a:cxn>
                  <a:cxn ang="0">
                    <a:pos x="connsiteX1" y="connsiteY1"/>
                  </a:cxn>
                  <a:cxn ang="0">
                    <a:pos x="connsiteX2" y="connsiteY2"/>
                  </a:cxn>
                  <a:cxn ang="0">
                    <a:pos x="connsiteX3" y="connsiteY3"/>
                  </a:cxn>
                </a:cxnLst>
                <a:rect l="l" t="t" r="r" b="b"/>
                <a:pathLst>
                  <a:path w="277653" h="86867">
                    <a:moveTo>
                      <a:pt x="138970" y="86868"/>
                    </a:moveTo>
                    <a:cubicBezTo>
                      <a:pt x="200025" y="86868"/>
                      <a:pt x="252413" y="51340"/>
                      <a:pt x="277654" y="0"/>
                    </a:cubicBezTo>
                    <a:lnTo>
                      <a:pt x="0" y="0"/>
                    </a:lnTo>
                    <a:cubicBezTo>
                      <a:pt x="25432" y="51340"/>
                      <a:pt x="77724" y="86868"/>
                      <a:pt x="138970" y="86868"/>
                    </a:cubicBezTo>
                    <a:close/>
                  </a:path>
                </a:pathLst>
              </a:custGeom>
              <a:solidFill>
                <a:srgbClr val="F5B4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12" name="Forma libre: forma 211">
                <a:extLst>
                  <a:ext uri="{FF2B5EF4-FFF2-40B4-BE49-F238E27FC236}">
                    <a16:creationId xmlns:a16="http://schemas.microsoft.com/office/drawing/2014/main" id="{08D643F3-8185-4D3B-9994-DBA2728F2938}"/>
                  </a:ext>
                </a:extLst>
              </p:cNvPr>
              <p:cNvSpPr/>
              <p:nvPr/>
            </p:nvSpPr>
            <p:spPr>
              <a:xfrm>
                <a:off x="3615295" y="5063680"/>
                <a:ext cx="323373" cy="34099"/>
              </a:xfrm>
              <a:custGeom>
                <a:avLst/>
                <a:gdLst>
                  <a:gd name="connsiteX0" fmla="*/ 0 w 323373"/>
                  <a:gd name="connsiteY0" fmla="*/ 0 h 34099"/>
                  <a:gd name="connsiteX1" fmla="*/ 323374 w 323373"/>
                  <a:gd name="connsiteY1" fmla="*/ 0 h 34099"/>
                  <a:gd name="connsiteX2" fmla="*/ 323374 w 323373"/>
                  <a:gd name="connsiteY2" fmla="*/ 34099 h 34099"/>
                  <a:gd name="connsiteX3" fmla="*/ 0 w 323373"/>
                  <a:gd name="connsiteY3" fmla="*/ 34099 h 34099"/>
                </a:gdLst>
                <a:ahLst/>
                <a:cxnLst>
                  <a:cxn ang="0">
                    <a:pos x="connsiteX0" y="connsiteY0"/>
                  </a:cxn>
                  <a:cxn ang="0">
                    <a:pos x="connsiteX1" y="connsiteY1"/>
                  </a:cxn>
                  <a:cxn ang="0">
                    <a:pos x="connsiteX2" y="connsiteY2"/>
                  </a:cxn>
                  <a:cxn ang="0">
                    <a:pos x="connsiteX3" y="connsiteY3"/>
                  </a:cxn>
                </a:cxnLst>
                <a:rect l="l" t="t" r="r" b="b"/>
                <a:pathLst>
                  <a:path w="323373" h="34099">
                    <a:moveTo>
                      <a:pt x="0" y="0"/>
                    </a:moveTo>
                    <a:lnTo>
                      <a:pt x="323374" y="0"/>
                    </a:lnTo>
                    <a:lnTo>
                      <a:pt x="323374" y="34099"/>
                    </a:lnTo>
                    <a:lnTo>
                      <a:pt x="0" y="34099"/>
                    </a:lnTo>
                    <a:close/>
                  </a:path>
                </a:pathLst>
              </a:custGeom>
              <a:solidFill>
                <a:srgbClr val="79554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13" name="Forma libre: forma 212">
                <a:extLst>
                  <a:ext uri="{FF2B5EF4-FFF2-40B4-BE49-F238E27FC236}">
                    <a16:creationId xmlns:a16="http://schemas.microsoft.com/office/drawing/2014/main" id="{562A9354-B1C3-4BB7-8950-CC17F295D0E9}"/>
                  </a:ext>
                </a:extLst>
              </p:cNvPr>
              <p:cNvSpPr/>
              <p:nvPr/>
            </p:nvSpPr>
            <p:spPr>
              <a:xfrm>
                <a:off x="3915904" y="5322950"/>
                <a:ext cx="221741" cy="84105"/>
              </a:xfrm>
              <a:custGeom>
                <a:avLst/>
                <a:gdLst>
                  <a:gd name="connsiteX0" fmla="*/ 0 w 221741"/>
                  <a:gd name="connsiteY0" fmla="*/ 0 h 84105"/>
                  <a:gd name="connsiteX1" fmla="*/ 0 w 221741"/>
                  <a:gd name="connsiteY1" fmla="*/ 84106 h 84105"/>
                  <a:gd name="connsiteX2" fmla="*/ 221742 w 221741"/>
                  <a:gd name="connsiteY2" fmla="*/ 84106 h 84105"/>
                  <a:gd name="connsiteX3" fmla="*/ 221742 w 221741"/>
                  <a:gd name="connsiteY3" fmla="*/ 0 h 84105"/>
                  <a:gd name="connsiteX4" fmla="*/ 53721 w 221741"/>
                  <a:gd name="connsiteY4" fmla="*/ 0 h 84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741" h="84105">
                    <a:moveTo>
                      <a:pt x="0" y="0"/>
                    </a:moveTo>
                    <a:lnTo>
                      <a:pt x="0" y="84106"/>
                    </a:lnTo>
                    <a:lnTo>
                      <a:pt x="221742" y="84106"/>
                    </a:lnTo>
                    <a:lnTo>
                      <a:pt x="221742" y="0"/>
                    </a:lnTo>
                    <a:lnTo>
                      <a:pt x="53721" y="0"/>
                    </a:lnTo>
                    <a:close/>
                  </a:path>
                </a:pathLst>
              </a:custGeom>
              <a:solidFill>
                <a:srgbClr val="1E3346"/>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14" name="Forma libre: forma 213">
                <a:extLst>
                  <a:ext uri="{FF2B5EF4-FFF2-40B4-BE49-F238E27FC236}">
                    <a16:creationId xmlns:a16="http://schemas.microsoft.com/office/drawing/2014/main" id="{546E2583-8EF5-4BC5-A072-64B9C9A5D4D5}"/>
                  </a:ext>
                </a:extLst>
              </p:cNvPr>
              <p:cNvSpPr/>
              <p:nvPr/>
            </p:nvSpPr>
            <p:spPr>
              <a:xfrm>
                <a:off x="4099165" y="4457414"/>
                <a:ext cx="38481" cy="24383"/>
              </a:xfrm>
              <a:custGeom>
                <a:avLst/>
                <a:gdLst>
                  <a:gd name="connsiteX0" fmla="*/ 38481 w 38481"/>
                  <a:gd name="connsiteY0" fmla="*/ 667 h 24383"/>
                  <a:gd name="connsiteX1" fmla="*/ 38481 w 38481"/>
                  <a:gd name="connsiteY1" fmla="*/ 24384 h 24383"/>
                  <a:gd name="connsiteX2" fmla="*/ 0 w 38481"/>
                  <a:gd name="connsiteY2" fmla="*/ 24384 h 24383"/>
                  <a:gd name="connsiteX3" fmla="*/ 32195 w 38481"/>
                  <a:gd name="connsiteY3" fmla="*/ 0 h 24383"/>
                  <a:gd name="connsiteX4" fmla="*/ 38481 w 38481"/>
                  <a:gd name="connsiteY4" fmla="*/ 667 h 2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81" h="24383">
                    <a:moveTo>
                      <a:pt x="38481" y="667"/>
                    </a:moveTo>
                    <a:lnTo>
                      <a:pt x="38481" y="24384"/>
                    </a:lnTo>
                    <a:lnTo>
                      <a:pt x="0" y="24384"/>
                    </a:lnTo>
                    <a:cubicBezTo>
                      <a:pt x="3905" y="10382"/>
                      <a:pt x="16764" y="0"/>
                      <a:pt x="32195" y="0"/>
                    </a:cubicBezTo>
                    <a:cubicBezTo>
                      <a:pt x="34385" y="0"/>
                      <a:pt x="36481" y="190"/>
                      <a:pt x="38481" y="667"/>
                    </a:cubicBezTo>
                    <a:close/>
                  </a:path>
                </a:pathLst>
              </a:custGeom>
              <a:solidFill>
                <a:srgbClr val="F5B4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15" name="Forma libre: forma 214">
                <a:extLst>
                  <a:ext uri="{FF2B5EF4-FFF2-40B4-BE49-F238E27FC236}">
                    <a16:creationId xmlns:a16="http://schemas.microsoft.com/office/drawing/2014/main" id="{3BB1B8DA-5511-4B93-A55E-415CFF37FE23}"/>
                  </a:ext>
                </a:extLst>
              </p:cNvPr>
              <p:cNvSpPr/>
              <p:nvPr/>
            </p:nvSpPr>
            <p:spPr>
              <a:xfrm>
                <a:off x="3673035" y="4587510"/>
                <a:ext cx="101232" cy="62594"/>
              </a:xfrm>
              <a:custGeom>
                <a:avLst/>
                <a:gdLst>
                  <a:gd name="connsiteX0" fmla="*/ 101232 w 101232"/>
                  <a:gd name="connsiteY0" fmla="*/ 62595 h 62594"/>
                  <a:gd name="connsiteX1" fmla="*/ 101232 w 101232"/>
                  <a:gd name="connsiteY1" fmla="*/ 62595 h 62594"/>
                  <a:gd name="connsiteX2" fmla="*/ 77706 w 101232"/>
                  <a:gd name="connsiteY2" fmla="*/ 60785 h 62594"/>
                  <a:gd name="connsiteX3" fmla="*/ 42558 w 101232"/>
                  <a:gd name="connsiteY3" fmla="*/ 54403 h 62594"/>
                  <a:gd name="connsiteX4" fmla="*/ 7506 w 101232"/>
                  <a:gd name="connsiteY4" fmla="*/ 36591 h 62594"/>
                  <a:gd name="connsiteX5" fmla="*/ 4744 w 101232"/>
                  <a:gd name="connsiteY5" fmla="*/ 7445 h 62594"/>
                  <a:gd name="connsiteX6" fmla="*/ 33700 w 101232"/>
                  <a:gd name="connsiteY6" fmla="*/ 4682 h 62594"/>
                  <a:gd name="connsiteX7" fmla="*/ 88945 w 101232"/>
                  <a:gd name="connsiteY7" fmla="*/ 20399 h 62594"/>
                  <a:gd name="connsiteX8" fmla="*/ 89421 w 101232"/>
                  <a:gd name="connsiteY8" fmla="*/ 20494 h 62594"/>
                  <a:gd name="connsiteX9" fmla="*/ 101232 w 101232"/>
                  <a:gd name="connsiteY9" fmla="*/ 62595 h 62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232" h="62594">
                    <a:moveTo>
                      <a:pt x="101232" y="62595"/>
                    </a:moveTo>
                    <a:lnTo>
                      <a:pt x="101232" y="62595"/>
                    </a:lnTo>
                    <a:cubicBezTo>
                      <a:pt x="93231" y="62214"/>
                      <a:pt x="85326" y="61737"/>
                      <a:pt x="77706" y="60785"/>
                    </a:cubicBezTo>
                    <a:cubicBezTo>
                      <a:pt x="65037" y="59165"/>
                      <a:pt x="52941" y="56880"/>
                      <a:pt x="42558" y="54403"/>
                    </a:cubicBezTo>
                    <a:cubicBezTo>
                      <a:pt x="29509" y="51165"/>
                      <a:pt x="17698" y="45164"/>
                      <a:pt x="7506" y="36591"/>
                    </a:cubicBezTo>
                    <a:cubicBezTo>
                      <a:pt x="-1352" y="29352"/>
                      <a:pt x="-2495" y="16398"/>
                      <a:pt x="4744" y="7445"/>
                    </a:cubicBezTo>
                    <a:cubicBezTo>
                      <a:pt x="11983" y="-1223"/>
                      <a:pt x="24937" y="-2557"/>
                      <a:pt x="33700" y="4682"/>
                    </a:cubicBezTo>
                    <a:cubicBezTo>
                      <a:pt x="37701" y="7921"/>
                      <a:pt x="59989" y="17160"/>
                      <a:pt x="88945" y="20399"/>
                    </a:cubicBezTo>
                    <a:cubicBezTo>
                      <a:pt x="89135" y="20494"/>
                      <a:pt x="89231" y="20494"/>
                      <a:pt x="89421" y="20494"/>
                    </a:cubicBezTo>
                    <a:cubicBezTo>
                      <a:pt x="90374" y="23923"/>
                      <a:pt x="94755" y="39163"/>
                      <a:pt x="101232" y="62595"/>
                    </a:cubicBezTo>
                    <a:close/>
                  </a:path>
                </a:pathLst>
              </a:custGeom>
              <a:solidFill>
                <a:srgbClr val="F5B4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16" name="Forma libre: forma 215">
                <a:extLst>
                  <a:ext uri="{FF2B5EF4-FFF2-40B4-BE49-F238E27FC236}">
                    <a16:creationId xmlns:a16="http://schemas.microsoft.com/office/drawing/2014/main" id="{82A81D11-6D9D-47FE-8543-E382AAA38EDA}"/>
                  </a:ext>
                </a:extLst>
              </p:cNvPr>
              <p:cNvSpPr/>
              <p:nvPr/>
            </p:nvSpPr>
            <p:spPr>
              <a:xfrm>
                <a:off x="3999343" y="5215890"/>
                <a:ext cx="138302" cy="69246"/>
              </a:xfrm>
              <a:custGeom>
                <a:avLst/>
                <a:gdLst>
                  <a:gd name="connsiteX0" fmla="*/ 138303 w 138302"/>
                  <a:gd name="connsiteY0" fmla="*/ 0 h 69246"/>
                  <a:gd name="connsiteX1" fmla="*/ 66675 w 138302"/>
                  <a:gd name="connsiteY1" fmla="*/ 0 h 69246"/>
                  <a:gd name="connsiteX2" fmla="*/ 0 w 138302"/>
                  <a:gd name="connsiteY2" fmla="*/ 69247 h 69246"/>
                  <a:gd name="connsiteX3" fmla="*/ 138208 w 138302"/>
                  <a:gd name="connsiteY3" fmla="*/ 69247 h 69246"/>
                  <a:gd name="connsiteX4" fmla="*/ 138208 w 138302"/>
                  <a:gd name="connsiteY4" fmla="*/ 0 h 69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02" h="69246">
                    <a:moveTo>
                      <a:pt x="138303" y="0"/>
                    </a:moveTo>
                    <a:lnTo>
                      <a:pt x="66675" y="0"/>
                    </a:lnTo>
                    <a:cubicBezTo>
                      <a:pt x="26860" y="13811"/>
                      <a:pt x="0" y="39624"/>
                      <a:pt x="0" y="69247"/>
                    </a:cubicBezTo>
                    <a:lnTo>
                      <a:pt x="138208" y="69247"/>
                    </a:lnTo>
                    <a:lnTo>
                      <a:pt x="138208" y="0"/>
                    </a:lnTo>
                    <a:close/>
                  </a:path>
                </a:pathLst>
              </a:custGeom>
              <a:solidFill>
                <a:srgbClr val="E49306"/>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17" name="Forma libre: forma 216">
                <a:extLst>
                  <a:ext uri="{FF2B5EF4-FFF2-40B4-BE49-F238E27FC236}">
                    <a16:creationId xmlns:a16="http://schemas.microsoft.com/office/drawing/2014/main" id="{E9B1EB87-AF9D-42B8-8AAF-EAB72F1F6B34}"/>
                  </a:ext>
                </a:extLst>
              </p:cNvPr>
              <p:cNvSpPr/>
              <p:nvPr/>
            </p:nvSpPr>
            <p:spPr>
              <a:xfrm>
                <a:off x="4066018" y="4886991"/>
                <a:ext cx="71627" cy="328898"/>
              </a:xfrm>
              <a:custGeom>
                <a:avLst/>
                <a:gdLst>
                  <a:gd name="connsiteX0" fmla="*/ 71628 w 71627"/>
                  <a:gd name="connsiteY0" fmla="*/ 0 h 328898"/>
                  <a:gd name="connsiteX1" fmla="*/ 43624 w 71627"/>
                  <a:gd name="connsiteY1" fmla="*/ 0 h 328898"/>
                  <a:gd name="connsiteX2" fmla="*/ 0 w 71627"/>
                  <a:gd name="connsiteY2" fmla="*/ 0 h 328898"/>
                  <a:gd name="connsiteX3" fmla="*/ 0 w 71627"/>
                  <a:gd name="connsiteY3" fmla="*/ 328898 h 328898"/>
                  <a:gd name="connsiteX4" fmla="*/ 71628 w 71627"/>
                  <a:gd name="connsiteY4" fmla="*/ 328898 h 328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627" h="328898">
                    <a:moveTo>
                      <a:pt x="71628" y="0"/>
                    </a:moveTo>
                    <a:lnTo>
                      <a:pt x="43624" y="0"/>
                    </a:lnTo>
                    <a:lnTo>
                      <a:pt x="0" y="0"/>
                    </a:lnTo>
                    <a:lnTo>
                      <a:pt x="0" y="328898"/>
                    </a:lnTo>
                    <a:lnTo>
                      <a:pt x="71628" y="328898"/>
                    </a:lnTo>
                    <a:close/>
                  </a:path>
                </a:pathLst>
              </a:custGeom>
              <a:solidFill>
                <a:srgbClr val="F5B4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18" name="Forma libre: forma 217">
                <a:extLst>
                  <a:ext uri="{FF2B5EF4-FFF2-40B4-BE49-F238E27FC236}">
                    <a16:creationId xmlns:a16="http://schemas.microsoft.com/office/drawing/2014/main" id="{5D2373B6-826C-4609-9870-6C649A6849A2}"/>
                  </a:ext>
                </a:extLst>
              </p:cNvPr>
              <p:cNvSpPr/>
              <p:nvPr/>
            </p:nvSpPr>
            <p:spPr>
              <a:xfrm>
                <a:off x="4109642" y="4537614"/>
                <a:ext cx="28003" cy="349377"/>
              </a:xfrm>
              <a:custGeom>
                <a:avLst/>
                <a:gdLst>
                  <a:gd name="connsiteX0" fmla="*/ 0 w 28003"/>
                  <a:gd name="connsiteY0" fmla="*/ 0 h 349377"/>
                  <a:gd name="connsiteX1" fmla="*/ 28004 w 28003"/>
                  <a:gd name="connsiteY1" fmla="*/ 0 h 349377"/>
                  <a:gd name="connsiteX2" fmla="*/ 28004 w 28003"/>
                  <a:gd name="connsiteY2" fmla="*/ 349377 h 349377"/>
                  <a:gd name="connsiteX3" fmla="*/ 0 w 28003"/>
                  <a:gd name="connsiteY3" fmla="*/ 349377 h 349377"/>
                </a:gdLst>
                <a:ahLst/>
                <a:cxnLst>
                  <a:cxn ang="0">
                    <a:pos x="connsiteX0" y="connsiteY0"/>
                  </a:cxn>
                  <a:cxn ang="0">
                    <a:pos x="connsiteX1" y="connsiteY1"/>
                  </a:cxn>
                  <a:cxn ang="0">
                    <a:pos x="connsiteX2" y="connsiteY2"/>
                  </a:cxn>
                  <a:cxn ang="0">
                    <a:pos x="connsiteX3" y="connsiteY3"/>
                  </a:cxn>
                </a:cxnLst>
                <a:rect l="l" t="t" r="r" b="b"/>
                <a:pathLst>
                  <a:path w="28003" h="349377">
                    <a:moveTo>
                      <a:pt x="0" y="0"/>
                    </a:moveTo>
                    <a:lnTo>
                      <a:pt x="28004" y="0"/>
                    </a:lnTo>
                    <a:lnTo>
                      <a:pt x="28004" y="349377"/>
                    </a:lnTo>
                    <a:lnTo>
                      <a:pt x="0" y="349377"/>
                    </a:lnTo>
                    <a:close/>
                  </a:path>
                </a:pathLst>
              </a:custGeom>
              <a:solidFill>
                <a:srgbClr val="79554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19" name="Forma libre: forma 218">
                <a:extLst>
                  <a:ext uri="{FF2B5EF4-FFF2-40B4-BE49-F238E27FC236}">
                    <a16:creationId xmlns:a16="http://schemas.microsoft.com/office/drawing/2014/main" id="{C76A75C6-030D-4801-BF61-2448B4A2945B}"/>
                  </a:ext>
                </a:extLst>
              </p:cNvPr>
              <p:cNvSpPr/>
              <p:nvPr/>
            </p:nvSpPr>
            <p:spPr>
              <a:xfrm>
                <a:off x="3790745" y="4497419"/>
                <a:ext cx="346900" cy="152209"/>
              </a:xfrm>
              <a:custGeom>
                <a:avLst/>
                <a:gdLst>
                  <a:gd name="connsiteX0" fmla="*/ 346901 w 346900"/>
                  <a:gd name="connsiteY0" fmla="*/ 0 h 152209"/>
                  <a:gd name="connsiteX1" fmla="*/ 346901 w 346900"/>
                  <a:gd name="connsiteY1" fmla="*/ 40196 h 152209"/>
                  <a:gd name="connsiteX2" fmla="*/ 318897 w 346900"/>
                  <a:gd name="connsiteY2" fmla="*/ 40196 h 152209"/>
                  <a:gd name="connsiteX3" fmla="*/ 118396 w 346900"/>
                  <a:gd name="connsiteY3" fmla="*/ 110014 h 152209"/>
                  <a:gd name="connsiteX4" fmla="*/ 42386 w 346900"/>
                  <a:gd name="connsiteY4" fmla="*/ 146304 h 152209"/>
                  <a:gd name="connsiteX5" fmla="*/ 11430 w 346900"/>
                  <a:gd name="connsiteY5" fmla="*/ 152209 h 152209"/>
                  <a:gd name="connsiteX6" fmla="*/ 0 w 346900"/>
                  <a:gd name="connsiteY6" fmla="*/ 111442 h 152209"/>
                  <a:gd name="connsiteX7" fmla="*/ 31052 w 346900"/>
                  <a:gd name="connsiteY7" fmla="*/ 106489 h 152209"/>
                  <a:gd name="connsiteX8" fmla="*/ 98203 w 346900"/>
                  <a:gd name="connsiteY8" fmla="*/ 73723 h 152209"/>
                  <a:gd name="connsiteX9" fmla="*/ 296513 w 346900"/>
                  <a:gd name="connsiteY9" fmla="*/ 0 h 152209"/>
                  <a:gd name="connsiteX10" fmla="*/ 346901 w 346900"/>
                  <a:gd name="connsiteY10" fmla="*/ 0 h 15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00" h="152209">
                    <a:moveTo>
                      <a:pt x="346901" y="0"/>
                    </a:moveTo>
                    <a:lnTo>
                      <a:pt x="346901" y="40196"/>
                    </a:lnTo>
                    <a:lnTo>
                      <a:pt x="318897" y="40196"/>
                    </a:lnTo>
                    <a:cubicBezTo>
                      <a:pt x="239268" y="42481"/>
                      <a:pt x="172308" y="79629"/>
                      <a:pt x="118396" y="110014"/>
                    </a:cubicBezTo>
                    <a:cubicBezTo>
                      <a:pt x="89630" y="126111"/>
                      <a:pt x="64484" y="139160"/>
                      <a:pt x="42386" y="146304"/>
                    </a:cubicBezTo>
                    <a:cubicBezTo>
                      <a:pt x="32766" y="149447"/>
                      <a:pt x="22193" y="151257"/>
                      <a:pt x="11430" y="152209"/>
                    </a:cubicBezTo>
                    <a:lnTo>
                      <a:pt x="0" y="111442"/>
                    </a:lnTo>
                    <a:cubicBezTo>
                      <a:pt x="10192" y="110871"/>
                      <a:pt x="20669" y="109442"/>
                      <a:pt x="31052" y="106489"/>
                    </a:cubicBezTo>
                    <a:cubicBezTo>
                      <a:pt x="48863" y="101441"/>
                      <a:pt x="71723" y="88773"/>
                      <a:pt x="98203" y="73723"/>
                    </a:cubicBezTo>
                    <a:cubicBezTo>
                      <a:pt x="148685" y="45434"/>
                      <a:pt x="216027" y="7906"/>
                      <a:pt x="296513" y="0"/>
                    </a:cubicBezTo>
                    <a:lnTo>
                      <a:pt x="346901" y="0"/>
                    </a:lnTo>
                    <a:close/>
                  </a:path>
                </a:pathLst>
              </a:custGeom>
              <a:solidFill>
                <a:srgbClr val="F5B40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20" name="Forma libre: forma 219">
                <a:extLst>
                  <a:ext uri="{FF2B5EF4-FFF2-40B4-BE49-F238E27FC236}">
                    <a16:creationId xmlns:a16="http://schemas.microsoft.com/office/drawing/2014/main" id="{E96CDED0-51A6-48EE-B6E9-BFE0CF24C8D3}"/>
                  </a:ext>
                </a:extLst>
              </p:cNvPr>
              <p:cNvSpPr/>
              <p:nvPr/>
            </p:nvSpPr>
            <p:spPr>
              <a:xfrm>
                <a:off x="3969625" y="5285136"/>
                <a:ext cx="168021" cy="37814"/>
              </a:xfrm>
              <a:custGeom>
                <a:avLst/>
                <a:gdLst>
                  <a:gd name="connsiteX0" fmla="*/ 29813 w 168021"/>
                  <a:gd name="connsiteY0" fmla="*/ 0 h 37814"/>
                  <a:gd name="connsiteX1" fmla="*/ 0 w 168021"/>
                  <a:gd name="connsiteY1" fmla="*/ 0 h 37814"/>
                  <a:gd name="connsiteX2" fmla="*/ 0 w 168021"/>
                  <a:gd name="connsiteY2" fmla="*/ 37814 h 37814"/>
                  <a:gd name="connsiteX3" fmla="*/ 168021 w 168021"/>
                  <a:gd name="connsiteY3" fmla="*/ 37814 h 37814"/>
                  <a:gd name="connsiteX4" fmla="*/ 168021 w 168021"/>
                  <a:gd name="connsiteY4" fmla="*/ 0 h 37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21" h="37814">
                    <a:moveTo>
                      <a:pt x="29813" y="0"/>
                    </a:moveTo>
                    <a:lnTo>
                      <a:pt x="0" y="0"/>
                    </a:lnTo>
                    <a:lnTo>
                      <a:pt x="0" y="37814"/>
                    </a:lnTo>
                    <a:lnTo>
                      <a:pt x="168021" y="37814"/>
                    </a:lnTo>
                    <a:lnTo>
                      <a:pt x="168021" y="0"/>
                    </a:lnTo>
                    <a:close/>
                  </a:path>
                </a:pathLst>
              </a:custGeom>
              <a:solidFill>
                <a:srgbClr val="795547"/>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21" name="Forma libre: forma 220">
                <a:extLst>
                  <a:ext uri="{FF2B5EF4-FFF2-40B4-BE49-F238E27FC236}">
                    <a16:creationId xmlns:a16="http://schemas.microsoft.com/office/drawing/2014/main" id="{56D0F4AE-452C-4853-A51E-987FF0CFD3CE}"/>
                  </a:ext>
                </a:extLst>
              </p:cNvPr>
              <p:cNvSpPr/>
              <p:nvPr/>
            </p:nvSpPr>
            <p:spPr>
              <a:xfrm>
                <a:off x="4087259" y="4481798"/>
                <a:ext cx="50387" cy="15620"/>
              </a:xfrm>
              <a:custGeom>
                <a:avLst/>
                <a:gdLst>
                  <a:gd name="connsiteX0" fmla="*/ 0 w 50387"/>
                  <a:gd name="connsiteY0" fmla="*/ 0 h 15620"/>
                  <a:gd name="connsiteX1" fmla="*/ 50387 w 50387"/>
                  <a:gd name="connsiteY1" fmla="*/ 0 h 15620"/>
                  <a:gd name="connsiteX2" fmla="*/ 50387 w 50387"/>
                  <a:gd name="connsiteY2" fmla="*/ 15621 h 15620"/>
                  <a:gd name="connsiteX3" fmla="*/ 0 w 50387"/>
                  <a:gd name="connsiteY3" fmla="*/ 15621 h 15620"/>
                </a:gdLst>
                <a:ahLst/>
                <a:cxnLst>
                  <a:cxn ang="0">
                    <a:pos x="connsiteX0" y="connsiteY0"/>
                  </a:cxn>
                  <a:cxn ang="0">
                    <a:pos x="connsiteX1" y="connsiteY1"/>
                  </a:cxn>
                  <a:cxn ang="0">
                    <a:pos x="connsiteX2" y="connsiteY2"/>
                  </a:cxn>
                  <a:cxn ang="0">
                    <a:pos x="connsiteX3" y="connsiteY3"/>
                  </a:cxn>
                </a:cxnLst>
                <a:rect l="l" t="t" r="r" b="b"/>
                <a:pathLst>
                  <a:path w="50387" h="15620">
                    <a:moveTo>
                      <a:pt x="0" y="0"/>
                    </a:moveTo>
                    <a:lnTo>
                      <a:pt x="50387" y="0"/>
                    </a:lnTo>
                    <a:lnTo>
                      <a:pt x="50387" y="15621"/>
                    </a:lnTo>
                    <a:lnTo>
                      <a:pt x="0" y="15621"/>
                    </a:lnTo>
                    <a:close/>
                  </a:path>
                </a:pathLst>
              </a:custGeom>
              <a:solidFill>
                <a:srgbClr val="1E3346"/>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22" name="Forma libre: forma 221">
                <a:extLst>
                  <a:ext uri="{FF2B5EF4-FFF2-40B4-BE49-F238E27FC236}">
                    <a16:creationId xmlns:a16="http://schemas.microsoft.com/office/drawing/2014/main" id="{F92026F2-C707-4D58-9E14-9CC6B8C55AD0}"/>
                  </a:ext>
                </a:extLst>
              </p:cNvPr>
              <p:cNvSpPr/>
              <p:nvPr/>
            </p:nvSpPr>
            <p:spPr>
              <a:xfrm>
                <a:off x="3635297" y="4648295"/>
                <a:ext cx="140969" cy="415385"/>
              </a:xfrm>
              <a:custGeom>
                <a:avLst/>
                <a:gdLst>
                  <a:gd name="connsiteX0" fmla="*/ 140970 w 140969"/>
                  <a:gd name="connsiteY0" fmla="*/ 9049 h 415385"/>
                  <a:gd name="connsiteX1" fmla="*/ 28004 w 140969"/>
                  <a:gd name="connsiteY1" fmla="*/ 415385 h 415385"/>
                  <a:gd name="connsiteX2" fmla="*/ 0 w 140969"/>
                  <a:gd name="connsiteY2" fmla="*/ 415385 h 415385"/>
                  <a:gd name="connsiteX3" fmla="*/ 115443 w 140969"/>
                  <a:gd name="connsiteY3" fmla="*/ 0 h 415385"/>
                  <a:gd name="connsiteX4" fmla="*/ 138874 w 140969"/>
                  <a:gd name="connsiteY4" fmla="*/ 1810 h 415385"/>
                  <a:gd name="connsiteX5" fmla="*/ 139922 w 140969"/>
                  <a:gd name="connsiteY5" fmla="*/ 5334 h 415385"/>
                  <a:gd name="connsiteX6" fmla="*/ 140970 w 140969"/>
                  <a:gd name="connsiteY6" fmla="*/ 9049 h 41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969" h="415385">
                    <a:moveTo>
                      <a:pt x="140970" y="9049"/>
                    </a:moveTo>
                    <a:lnTo>
                      <a:pt x="28004" y="415385"/>
                    </a:lnTo>
                    <a:lnTo>
                      <a:pt x="0" y="415385"/>
                    </a:lnTo>
                    <a:lnTo>
                      <a:pt x="115443" y="0"/>
                    </a:lnTo>
                    <a:cubicBezTo>
                      <a:pt x="123063" y="952"/>
                      <a:pt x="130969" y="1429"/>
                      <a:pt x="138874" y="1810"/>
                    </a:cubicBezTo>
                    <a:cubicBezTo>
                      <a:pt x="139160" y="2953"/>
                      <a:pt x="139541" y="4191"/>
                      <a:pt x="139922" y="5334"/>
                    </a:cubicBezTo>
                    <a:cubicBezTo>
                      <a:pt x="140303" y="6572"/>
                      <a:pt x="140684" y="7810"/>
                      <a:pt x="140970" y="9049"/>
                    </a:cubicBezTo>
                    <a:close/>
                  </a:path>
                </a:pathLst>
              </a:custGeom>
              <a:solidFill>
                <a:srgbClr val="1E3346"/>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23" name="Forma libre: forma 222">
                <a:extLst>
                  <a:ext uri="{FF2B5EF4-FFF2-40B4-BE49-F238E27FC236}">
                    <a16:creationId xmlns:a16="http://schemas.microsoft.com/office/drawing/2014/main" id="{7CC7976C-F30F-4BD8-B78E-95DC0E246EA5}"/>
                  </a:ext>
                </a:extLst>
              </p:cNvPr>
              <p:cNvSpPr/>
              <p:nvPr/>
            </p:nvSpPr>
            <p:spPr>
              <a:xfrm>
                <a:off x="3762265" y="4599432"/>
                <a:ext cx="156305" cy="464248"/>
              </a:xfrm>
              <a:custGeom>
                <a:avLst/>
                <a:gdLst>
                  <a:gd name="connsiteX0" fmla="*/ 156305 w 156305"/>
                  <a:gd name="connsiteY0" fmla="*/ 464248 h 464248"/>
                  <a:gd name="connsiteX1" fmla="*/ 128302 w 156305"/>
                  <a:gd name="connsiteY1" fmla="*/ 464248 h 464248"/>
                  <a:gd name="connsiteX2" fmla="*/ 14002 w 156305"/>
                  <a:gd name="connsiteY2" fmla="*/ 57912 h 464248"/>
                  <a:gd name="connsiteX3" fmla="*/ 12954 w 156305"/>
                  <a:gd name="connsiteY3" fmla="*/ 54197 h 464248"/>
                  <a:gd name="connsiteX4" fmla="*/ 12002 w 156305"/>
                  <a:gd name="connsiteY4" fmla="*/ 50673 h 464248"/>
                  <a:gd name="connsiteX5" fmla="*/ 190 w 156305"/>
                  <a:gd name="connsiteY5" fmla="*/ 8572 h 464248"/>
                  <a:gd name="connsiteX6" fmla="*/ 0 w 156305"/>
                  <a:gd name="connsiteY6" fmla="*/ 7620 h 464248"/>
                  <a:gd name="connsiteX7" fmla="*/ 0 w 156305"/>
                  <a:gd name="connsiteY7" fmla="*/ 7525 h 464248"/>
                  <a:gd name="connsiteX8" fmla="*/ 7144 w 156305"/>
                  <a:gd name="connsiteY8" fmla="*/ 0 h 464248"/>
                  <a:gd name="connsiteX9" fmla="*/ 20764 w 156305"/>
                  <a:gd name="connsiteY9" fmla="*/ 0 h 464248"/>
                  <a:gd name="connsiteX10" fmla="*/ 27908 w 156305"/>
                  <a:gd name="connsiteY10" fmla="*/ 7620 h 464248"/>
                  <a:gd name="connsiteX11" fmla="*/ 28480 w 156305"/>
                  <a:gd name="connsiteY11" fmla="*/ 9430 h 464248"/>
                  <a:gd name="connsiteX12" fmla="*/ 39910 w 156305"/>
                  <a:gd name="connsiteY12" fmla="*/ 50197 h 464248"/>
                  <a:gd name="connsiteX13" fmla="*/ 156305 w 156305"/>
                  <a:gd name="connsiteY13" fmla="*/ 464248 h 46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305" h="464248">
                    <a:moveTo>
                      <a:pt x="156305" y="464248"/>
                    </a:moveTo>
                    <a:lnTo>
                      <a:pt x="128302" y="464248"/>
                    </a:lnTo>
                    <a:cubicBezTo>
                      <a:pt x="128302" y="464248"/>
                      <a:pt x="47435" y="176594"/>
                      <a:pt x="14002" y="57912"/>
                    </a:cubicBezTo>
                    <a:cubicBezTo>
                      <a:pt x="13716" y="56674"/>
                      <a:pt x="13335" y="55436"/>
                      <a:pt x="12954" y="54197"/>
                    </a:cubicBezTo>
                    <a:cubicBezTo>
                      <a:pt x="12668" y="52959"/>
                      <a:pt x="12287" y="51816"/>
                      <a:pt x="12002" y="50673"/>
                    </a:cubicBezTo>
                    <a:cubicBezTo>
                      <a:pt x="5525" y="27241"/>
                      <a:pt x="1143" y="12002"/>
                      <a:pt x="190" y="8572"/>
                    </a:cubicBezTo>
                    <a:cubicBezTo>
                      <a:pt x="95" y="8096"/>
                      <a:pt x="0" y="7620"/>
                      <a:pt x="0" y="7620"/>
                    </a:cubicBezTo>
                    <a:lnTo>
                      <a:pt x="0" y="7525"/>
                    </a:lnTo>
                    <a:cubicBezTo>
                      <a:pt x="0" y="3334"/>
                      <a:pt x="3143" y="0"/>
                      <a:pt x="7144" y="0"/>
                    </a:cubicBezTo>
                    <a:lnTo>
                      <a:pt x="20764" y="0"/>
                    </a:lnTo>
                    <a:cubicBezTo>
                      <a:pt x="26861" y="0"/>
                      <a:pt x="27908" y="7620"/>
                      <a:pt x="27908" y="7620"/>
                    </a:cubicBezTo>
                    <a:lnTo>
                      <a:pt x="28480" y="9430"/>
                    </a:lnTo>
                    <a:lnTo>
                      <a:pt x="39910" y="50197"/>
                    </a:lnTo>
                    <a:lnTo>
                      <a:pt x="156305" y="464248"/>
                    </a:lnTo>
                    <a:close/>
                  </a:path>
                </a:pathLst>
              </a:custGeom>
              <a:solidFill>
                <a:srgbClr val="13202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grpSp>
        <p:grpSp>
          <p:nvGrpSpPr>
            <p:cNvPr id="197" name="Gráfico 3">
              <a:extLst>
                <a:ext uri="{FF2B5EF4-FFF2-40B4-BE49-F238E27FC236}">
                  <a16:creationId xmlns:a16="http://schemas.microsoft.com/office/drawing/2014/main" id="{8F1AE15C-7C59-468A-8C56-6E6FB989749B}"/>
                </a:ext>
              </a:extLst>
            </p:cNvPr>
            <p:cNvGrpSpPr/>
            <p:nvPr/>
          </p:nvGrpSpPr>
          <p:grpSpPr>
            <a:xfrm>
              <a:off x="49808" y="5160127"/>
              <a:ext cx="163975" cy="298109"/>
              <a:chOff x="4137646" y="4457414"/>
              <a:chExt cx="522350" cy="949642"/>
            </a:xfrm>
            <a:solidFill>
              <a:srgbClr val="043A6C"/>
            </a:solidFill>
          </p:grpSpPr>
          <p:sp>
            <p:nvSpPr>
              <p:cNvPr id="198" name="Forma libre: forma 197">
                <a:extLst>
                  <a:ext uri="{FF2B5EF4-FFF2-40B4-BE49-F238E27FC236}">
                    <a16:creationId xmlns:a16="http://schemas.microsoft.com/office/drawing/2014/main" id="{4B8784AE-1C67-45A6-9D76-9341DE824635}"/>
                  </a:ext>
                </a:extLst>
              </p:cNvPr>
              <p:cNvSpPr/>
              <p:nvPr/>
            </p:nvSpPr>
            <p:spPr>
              <a:xfrm>
                <a:off x="4359483" y="5097780"/>
                <a:ext cx="277653" cy="86867"/>
              </a:xfrm>
              <a:custGeom>
                <a:avLst/>
                <a:gdLst>
                  <a:gd name="connsiteX0" fmla="*/ 138779 w 277653"/>
                  <a:gd name="connsiteY0" fmla="*/ 86868 h 86867"/>
                  <a:gd name="connsiteX1" fmla="*/ 0 w 277653"/>
                  <a:gd name="connsiteY1" fmla="*/ 0 h 86867"/>
                  <a:gd name="connsiteX2" fmla="*/ 277654 w 277653"/>
                  <a:gd name="connsiteY2" fmla="*/ 0 h 86867"/>
                  <a:gd name="connsiteX3" fmla="*/ 138779 w 277653"/>
                  <a:gd name="connsiteY3" fmla="*/ 86868 h 86867"/>
                </a:gdLst>
                <a:ahLst/>
                <a:cxnLst>
                  <a:cxn ang="0">
                    <a:pos x="connsiteX0" y="connsiteY0"/>
                  </a:cxn>
                  <a:cxn ang="0">
                    <a:pos x="connsiteX1" y="connsiteY1"/>
                  </a:cxn>
                  <a:cxn ang="0">
                    <a:pos x="connsiteX2" y="connsiteY2"/>
                  </a:cxn>
                  <a:cxn ang="0">
                    <a:pos x="connsiteX3" y="connsiteY3"/>
                  </a:cxn>
                </a:cxnLst>
                <a:rect l="l" t="t" r="r" b="b"/>
                <a:pathLst>
                  <a:path w="277653" h="86867">
                    <a:moveTo>
                      <a:pt x="138779" y="86868"/>
                    </a:moveTo>
                    <a:cubicBezTo>
                      <a:pt x="77724" y="86868"/>
                      <a:pt x="25337" y="51340"/>
                      <a:pt x="0" y="0"/>
                    </a:cubicBezTo>
                    <a:lnTo>
                      <a:pt x="277654" y="0"/>
                    </a:lnTo>
                    <a:cubicBezTo>
                      <a:pt x="252317" y="51340"/>
                      <a:pt x="199930" y="86868"/>
                      <a:pt x="138779" y="86868"/>
                    </a:cubicBezTo>
                    <a:close/>
                  </a:path>
                </a:pathLst>
              </a:custGeom>
              <a:solidFill>
                <a:srgbClr val="E49306"/>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199" name="Forma libre: forma 198">
                <a:extLst>
                  <a:ext uri="{FF2B5EF4-FFF2-40B4-BE49-F238E27FC236}">
                    <a16:creationId xmlns:a16="http://schemas.microsoft.com/office/drawing/2014/main" id="{FD0E4710-883E-4790-8A97-742B16EF985F}"/>
                  </a:ext>
                </a:extLst>
              </p:cNvPr>
              <p:cNvSpPr/>
              <p:nvPr/>
            </p:nvSpPr>
            <p:spPr>
              <a:xfrm>
                <a:off x="4336623" y="5063680"/>
                <a:ext cx="323373" cy="34099"/>
              </a:xfrm>
              <a:custGeom>
                <a:avLst/>
                <a:gdLst>
                  <a:gd name="connsiteX0" fmla="*/ 45530 w 323373"/>
                  <a:gd name="connsiteY0" fmla="*/ 0 h 34099"/>
                  <a:gd name="connsiteX1" fmla="*/ 48006 w 323373"/>
                  <a:gd name="connsiteY1" fmla="*/ 0 h 34099"/>
                  <a:gd name="connsiteX2" fmla="*/ 275273 w 323373"/>
                  <a:gd name="connsiteY2" fmla="*/ 0 h 34099"/>
                  <a:gd name="connsiteX3" fmla="*/ 276797 w 323373"/>
                  <a:gd name="connsiteY3" fmla="*/ 0 h 34099"/>
                  <a:gd name="connsiteX4" fmla="*/ 295847 w 323373"/>
                  <a:gd name="connsiteY4" fmla="*/ 0 h 34099"/>
                  <a:gd name="connsiteX5" fmla="*/ 303276 w 323373"/>
                  <a:gd name="connsiteY5" fmla="*/ 0 h 34099"/>
                  <a:gd name="connsiteX6" fmla="*/ 323374 w 323373"/>
                  <a:gd name="connsiteY6" fmla="*/ 0 h 34099"/>
                  <a:gd name="connsiteX7" fmla="*/ 323374 w 323373"/>
                  <a:gd name="connsiteY7" fmla="*/ 34100 h 34099"/>
                  <a:gd name="connsiteX8" fmla="*/ 300514 w 323373"/>
                  <a:gd name="connsiteY8" fmla="*/ 34100 h 34099"/>
                  <a:gd name="connsiteX9" fmla="*/ 22860 w 323373"/>
                  <a:gd name="connsiteY9" fmla="*/ 34100 h 34099"/>
                  <a:gd name="connsiteX10" fmla="*/ 0 w 323373"/>
                  <a:gd name="connsiteY10" fmla="*/ 34100 h 34099"/>
                  <a:gd name="connsiteX11" fmla="*/ 0 w 323373"/>
                  <a:gd name="connsiteY11" fmla="*/ 0 h 34099"/>
                  <a:gd name="connsiteX12" fmla="*/ 20098 w 323373"/>
                  <a:gd name="connsiteY12" fmla="*/ 0 h 34099"/>
                  <a:gd name="connsiteX13" fmla="*/ 26766 w 323373"/>
                  <a:gd name="connsiteY13" fmla="*/ 0 h 34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3373" h="34099">
                    <a:moveTo>
                      <a:pt x="45530" y="0"/>
                    </a:moveTo>
                    <a:lnTo>
                      <a:pt x="48006" y="0"/>
                    </a:lnTo>
                    <a:lnTo>
                      <a:pt x="275273" y="0"/>
                    </a:lnTo>
                    <a:lnTo>
                      <a:pt x="276797" y="0"/>
                    </a:lnTo>
                    <a:lnTo>
                      <a:pt x="295847" y="0"/>
                    </a:lnTo>
                    <a:lnTo>
                      <a:pt x="303276" y="0"/>
                    </a:lnTo>
                    <a:lnTo>
                      <a:pt x="323374" y="0"/>
                    </a:lnTo>
                    <a:lnTo>
                      <a:pt x="323374" y="34100"/>
                    </a:lnTo>
                    <a:lnTo>
                      <a:pt x="300514" y="34100"/>
                    </a:lnTo>
                    <a:lnTo>
                      <a:pt x="22860" y="34100"/>
                    </a:lnTo>
                    <a:lnTo>
                      <a:pt x="0" y="34100"/>
                    </a:lnTo>
                    <a:lnTo>
                      <a:pt x="0" y="0"/>
                    </a:lnTo>
                    <a:lnTo>
                      <a:pt x="20098" y="0"/>
                    </a:lnTo>
                    <a:lnTo>
                      <a:pt x="26766" y="0"/>
                    </a:lnTo>
                    <a:close/>
                  </a:path>
                </a:pathLst>
              </a:custGeom>
              <a:solidFill>
                <a:srgbClr val="663F3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00" name="Forma libre: forma 199">
                <a:extLst>
                  <a:ext uri="{FF2B5EF4-FFF2-40B4-BE49-F238E27FC236}">
                    <a16:creationId xmlns:a16="http://schemas.microsoft.com/office/drawing/2014/main" id="{5C5361A7-F634-465A-A348-7C25B8DAF6F5}"/>
                  </a:ext>
                </a:extLst>
              </p:cNvPr>
              <p:cNvSpPr/>
              <p:nvPr/>
            </p:nvSpPr>
            <p:spPr>
              <a:xfrm>
                <a:off x="4137646" y="5322950"/>
                <a:ext cx="221646" cy="84105"/>
              </a:xfrm>
              <a:custGeom>
                <a:avLst/>
                <a:gdLst>
                  <a:gd name="connsiteX0" fmla="*/ 221647 w 221646"/>
                  <a:gd name="connsiteY0" fmla="*/ 0 h 84105"/>
                  <a:gd name="connsiteX1" fmla="*/ 221647 w 221646"/>
                  <a:gd name="connsiteY1" fmla="*/ 84106 h 84105"/>
                  <a:gd name="connsiteX2" fmla="*/ 0 w 221646"/>
                  <a:gd name="connsiteY2" fmla="*/ 84106 h 84105"/>
                  <a:gd name="connsiteX3" fmla="*/ 0 w 221646"/>
                  <a:gd name="connsiteY3" fmla="*/ 0 h 84105"/>
                  <a:gd name="connsiteX4" fmla="*/ 168021 w 221646"/>
                  <a:gd name="connsiteY4" fmla="*/ 0 h 84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646" h="84105">
                    <a:moveTo>
                      <a:pt x="221647" y="0"/>
                    </a:moveTo>
                    <a:lnTo>
                      <a:pt x="221647" y="84106"/>
                    </a:lnTo>
                    <a:lnTo>
                      <a:pt x="0" y="84106"/>
                    </a:lnTo>
                    <a:lnTo>
                      <a:pt x="0" y="0"/>
                    </a:lnTo>
                    <a:lnTo>
                      <a:pt x="168021" y="0"/>
                    </a:lnTo>
                    <a:close/>
                  </a:path>
                </a:pathLst>
              </a:custGeom>
              <a:solidFill>
                <a:srgbClr val="13202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01" name="Forma libre: forma 200">
                <a:extLst>
                  <a:ext uri="{FF2B5EF4-FFF2-40B4-BE49-F238E27FC236}">
                    <a16:creationId xmlns:a16="http://schemas.microsoft.com/office/drawing/2014/main" id="{C2D7FEE1-2D8B-4009-BB0D-772ED4CBC73D}"/>
                  </a:ext>
                </a:extLst>
              </p:cNvPr>
              <p:cNvSpPr/>
              <p:nvPr/>
            </p:nvSpPr>
            <p:spPr>
              <a:xfrm>
                <a:off x="4137646" y="4457414"/>
                <a:ext cx="38481" cy="24383"/>
              </a:xfrm>
              <a:custGeom>
                <a:avLst/>
                <a:gdLst>
                  <a:gd name="connsiteX0" fmla="*/ 38481 w 38481"/>
                  <a:gd name="connsiteY0" fmla="*/ 24384 h 24383"/>
                  <a:gd name="connsiteX1" fmla="*/ 0 w 38481"/>
                  <a:gd name="connsiteY1" fmla="*/ 24384 h 24383"/>
                  <a:gd name="connsiteX2" fmla="*/ 0 w 38481"/>
                  <a:gd name="connsiteY2" fmla="*/ 667 h 24383"/>
                  <a:gd name="connsiteX3" fmla="*/ 6191 w 38481"/>
                  <a:gd name="connsiteY3" fmla="*/ 0 h 24383"/>
                  <a:gd name="connsiteX4" fmla="*/ 38481 w 38481"/>
                  <a:gd name="connsiteY4" fmla="*/ 24384 h 24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81" h="24383">
                    <a:moveTo>
                      <a:pt x="38481" y="24384"/>
                    </a:moveTo>
                    <a:lnTo>
                      <a:pt x="0" y="24384"/>
                    </a:lnTo>
                    <a:lnTo>
                      <a:pt x="0" y="667"/>
                    </a:lnTo>
                    <a:cubicBezTo>
                      <a:pt x="2000" y="190"/>
                      <a:pt x="4096" y="0"/>
                      <a:pt x="6191" y="0"/>
                    </a:cubicBezTo>
                    <a:cubicBezTo>
                      <a:pt x="21717" y="0"/>
                      <a:pt x="34576" y="10382"/>
                      <a:pt x="38481" y="24384"/>
                    </a:cubicBezTo>
                    <a:close/>
                  </a:path>
                </a:pathLst>
              </a:custGeom>
              <a:solidFill>
                <a:srgbClr val="E49306"/>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02" name="Forma libre: forma 201">
                <a:extLst>
                  <a:ext uri="{FF2B5EF4-FFF2-40B4-BE49-F238E27FC236}">
                    <a16:creationId xmlns:a16="http://schemas.microsoft.com/office/drawing/2014/main" id="{CF7A1324-3454-4ABB-B2E9-85FD475BBF87}"/>
                  </a:ext>
                </a:extLst>
              </p:cNvPr>
              <p:cNvSpPr/>
              <p:nvPr/>
            </p:nvSpPr>
            <p:spPr>
              <a:xfrm>
                <a:off x="4500929" y="4587518"/>
                <a:ext cx="101349" cy="62586"/>
              </a:xfrm>
              <a:custGeom>
                <a:avLst/>
                <a:gdLst>
                  <a:gd name="connsiteX0" fmla="*/ 93821 w 101349"/>
                  <a:gd name="connsiteY0" fmla="*/ 36583 h 62586"/>
                  <a:gd name="connsiteX1" fmla="*/ 58769 w 101349"/>
                  <a:gd name="connsiteY1" fmla="*/ 54395 h 62586"/>
                  <a:gd name="connsiteX2" fmla="*/ 23622 w 101349"/>
                  <a:gd name="connsiteY2" fmla="*/ 60777 h 62586"/>
                  <a:gd name="connsiteX3" fmla="*/ 191 w 101349"/>
                  <a:gd name="connsiteY3" fmla="*/ 62587 h 62586"/>
                  <a:gd name="connsiteX4" fmla="*/ 0 w 101349"/>
                  <a:gd name="connsiteY4" fmla="*/ 62587 h 62586"/>
                  <a:gd name="connsiteX5" fmla="*/ 11811 w 101349"/>
                  <a:gd name="connsiteY5" fmla="*/ 20486 h 62586"/>
                  <a:gd name="connsiteX6" fmla="*/ 12383 w 101349"/>
                  <a:gd name="connsiteY6" fmla="*/ 20391 h 62586"/>
                  <a:gd name="connsiteX7" fmla="*/ 67628 w 101349"/>
                  <a:gd name="connsiteY7" fmla="*/ 4675 h 62586"/>
                  <a:gd name="connsiteX8" fmla="*/ 83439 w 101349"/>
                  <a:gd name="connsiteY8" fmla="*/ 198 h 62586"/>
                  <a:gd name="connsiteX9" fmla="*/ 96584 w 101349"/>
                  <a:gd name="connsiteY9" fmla="*/ 7437 h 62586"/>
                  <a:gd name="connsiteX10" fmla="*/ 101156 w 101349"/>
                  <a:gd name="connsiteY10" fmla="*/ 17914 h 62586"/>
                  <a:gd name="connsiteX11" fmla="*/ 93821 w 101349"/>
                  <a:gd name="connsiteY11" fmla="*/ 36583 h 62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349" h="62586">
                    <a:moveTo>
                      <a:pt x="93821" y="36583"/>
                    </a:moveTo>
                    <a:cubicBezTo>
                      <a:pt x="83630" y="45156"/>
                      <a:pt x="71819" y="51157"/>
                      <a:pt x="58769" y="54395"/>
                    </a:cubicBezTo>
                    <a:cubicBezTo>
                      <a:pt x="48387" y="56872"/>
                      <a:pt x="36291" y="59158"/>
                      <a:pt x="23622" y="60777"/>
                    </a:cubicBezTo>
                    <a:cubicBezTo>
                      <a:pt x="16002" y="61729"/>
                      <a:pt x="8096" y="62206"/>
                      <a:pt x="191" y="62587"/>
                    </a:cubicBezTo>
                    <a:cubicBezTo>
                      <a:pt x="95" y="62587"/>
                      <a:pt x="95" y="62587"/>
                      <a:pt x="0" y="62587"/>
                    </a:cubicBezTo>
                    <a:cubicBezTo>
                      <a:pt x="6572" y="39155"/>
                      <a:pt x="10859" y="23915"/>
                      <a:pt x="11811" y="20486"/>
                    </a:cubicBezTo>
                    <a:cubicBezTo>
                      <a:pt x="12002" y="20486"/>
                      <a:pt x="12192" y="20486"/>
                      <a:pt x="12383" y="20391"/>
                    </a:cubicBezTo>
                    <a:cubicBezTo>
                      <a:pt x="41243" y="17152"/>
                      <a:pt x="63627" y="7913"/>
                      <a:pt x="67628" y="4675"/>
                    </a:cubicBezTo>
                    <a:cubicBezTo>
                      <a:pt x="72200" y="865"/>
                      <a:pt x="78010" y="-564"/>
                      <a:pt x="83439" y="198"/>
                    </a:cubicBezTo>
                    <a:cubicBezTo>
                      <a:pt x="88392" y="865"/>
                      <a:pt x="93155" y="3341"/>
                      <a:pt x="96584" y="7437"/>
                    </a:cubicBezTo>
                    <a:cubicBezTo>
                      <a:pt x="99060" y="10580"/>
                      <a:pt x="100584" y="14200"/>
                      <a:pt x="101156" y="17914"/>
                    </a:cubicBezTo>
                    <a:cubicBezTo>
                      <a:pt x="102108" y="24772"/>
                      <a:pt x="99536" y="31916"/>
                      <a:pt x="93821" y="36583"/>
                    </a:cubicBezTo>
                    <a:close/>
                  </a:path>
                </a:pathLst>
              </a:custGeom>
              <a:solidFill>
                <a:srgbClr val="E49306"/>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03" name="Forma libre: forma 202">
                <a:extLst>
                  <a:ext uri="{FF2B5EF4-FFF2-40B4-BE49-F238E27FC236}">
                    <a16:creationId xmlns:a16="http://schemas.microsoft.com/office/drawing/2014/main" id="{D269D5D4-2909-4AA6-AC30-128449482C11}"/>
                  </a:ext>
                </a:extLst>
              </p:cNvPr>
              <p:cNvSpPr/>
              <p:nvPr/>
            </p:nvSpPr>
            <p:spPr>
              <a:xfrm>
                <a:off x="4137646" y="5215890"/>
                <a:ext cx="138302" cy="69246"/>
              </a:xfrm>
              <a:custGeom>
                <a:avLst/>
                <a:gdLst>
                  <a:gd name="connsiteX0" fmla="*/ 0 w 138302"/>
                  <a:gd name="connsiteY0" fmla="*/ 0 h 69246"/>
                  <a:gd name="connsiteX1" fmla="*/ 71628 w 138302"/>
                  <a:gd name="connsiteY1" fmla="*/ 0 h 69246"/>
                  <a:gd name="connsiteX2" fmla="*/ 138303 w 138302"/>
                  <a:gd name="connsiteY2" fmla="*/ 69247 h 69246"/>
                  <a:gd name="connsiteX3" fmla="*/ 95 w 138302"/>
                  <a:gd name="connsiteY3" fmla="*/ 69247 h 69246"/>
                  <a:gd name="connsiteX4" fmla="*/ 95 w 138302"/>
                  <a:gd name="connsiteY4" fmla="*/ 0 h 69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02" h="69246">
                    <a:moveTo>
                      <a:pt x="0" y="0"/>
                    </a:moveTo>
                    <a:lnTo>
                      <a:pt x="71628" y="0"/>
                    </a:lnTo>
                    <a:cubicBezTo>
                      <a:pt x="111443" y="13811"/>
                      <a:pt x="138303" y="39624"/>
                      <a:pt x="138303" y="69247"/>
                    </a:cubicBezTo>
                    <a:lnTo>
                      <a:pt x="95" y="69247"/>
                    </a:lnTo>
                    <a:lnTo>
                      <a:pt x="95" y="0"/>
                    </a:lnTo>
                    <a:close/>
                  </a:path>
                </a:pathLst>
              </a:custGeom>
              <a:solidFill>
                <a:srgbClr val="BA7805"/>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04" name="Forma libre: forma 203">
                <a:extLst>
                  <a:ext uri="{FF2B5EF4-FFF2-40B4-BE49-F238E27FC236}">
                    <a16:creationId xmlns:a16="http://schemas.microsoft.com/office/drawing/2014/main" id="{9A98A049-2207-4A24-B9F9-F31BF1E369E8}"/>
                  </a:ext>
                </a:extLst>
              </p:cNvPr>
              <p:cNvSpPr/>
              <p:nvPr/>
            </p:nvSpPr>
            <p:spPr>
              <a:xfrm>
                <a:off x="4137646" y="4886991"/>
                <a:ext cx="71532" cy="328898"/>
              </a:xfrm>
              <a:custGeom>
                <a:avLst/>
                <a:gdLst>
                  <a:gd name="connsiteX0" fmla="*/ 0 w 71532"/>
                  <a:gd name="connsiteY0" fmla="*/ 0 h 328898"/>
                  <a:gd name="connsiteX1" fmla="*/ 28004 w 71532"/>
                  <a:gd name="connsiteY1" fmla="*/ 0 h 328898"/>
                  <a:gd name="connsiteX2" fmla="*/ 71533 w 71532"/>
                  <a:gd name="connsiteY2" fmla="*/ 0 h 328898"/>
                  <a:gd name="connsiteX3" fmla="*/ 71533 w 71532"/>
                  <a:gd name="connsiteY3" fmla="*/ 328898 h 328898"/>
                  <a:gd name="connsiteX4" fmla="*/ 0 w 71532"/>
                  <a:gd name="connsiteY4" fmla="*/ 328898 h 328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2" h="328898">
                    <a:moveTo>
                      <a:pt x="0" y="0"/>
                    </a:moveTo>
                    <a:lnTo>
                      <a:pt x="28004" y="0"/>
                    </a:lnTo>
                    <a:lnTo>
                      <a:pt x="71533" y="0"/>
                    </a:lnTo>
                    <a:lnTo>
                      <a:pt x="71533" y="328898"/>
                    </a:lnTo>
                    <a:lnTo>
                      <a:pt x="0" y="328898"/>
                    </a:lnTo>
                    <a:close/>
                  </a:path>
                </a:pathLst>
              </a:custGeom>
              <a:solidFill>
                <a:srgbClr val="E49306"/>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05" name="Forma libre: forma 204">
                <a:extLst>
                  <a:ext uri="{FF2B5EF4-FFF2-40B4-BE49-F238E27FC236}">
                    <a16:creationId xmlns:a16="http://schemas.microsoft.com/office/drawing/2014/main" id="{4F8E7B83-C735-4EC3-A9B0-C0B300C0305D}"/>
                  </a:ext>
                </a:extLst>
              </p:cNvPr>
              <p:cNvSpPr/>
              <p:nvPr/>
            </p:nvSpPr>
            <p:spPr>
              <a:xfrm>
                <a:off x="4137646" y="4537614"/>
                <a:ext cx="28003" cy="349377"/>
              </a:xfrm>
              <a:custGeom>
                <a:avLst/>
                <a:gdLst>
                  <a:gd name="connsiteX0" fmla="*/ 0 w 28003"/>
                  <a:gd name="connsiteY0" fmla="*/ 0 h 349377"/>
                  <a:gd name="connsiteX1" fmla="*/ 28004 w 28003"/>
                  <a:gd name="connsiteY1" fmla="*/ 0 h 349377"/>
                  <a:gd name="connsiteX2" fmla="*/ 28004 w 28003"/>
                  <a:gd name="connsiteY2" fmla="*/ 349377 h 349377"/>
                  <a:gd name="connsiteX3" fmla="*/ 0 w 28003"/>
                  <a:gd name="connsiteY3" fmla="*/ 349377 h 349377"/>
                </a:gdLst>
                <a:ahLst/>
                <a:cxnLst>
                  <a:cxn ang="0">
                    <a:pos x="connsiteX0" y="connsiteY0"/>
                  </a:cxn>
                  <a:cxn ang="0">
                    <a:pos x="connsiteX1" y="connsiteY1"/>
                  </a:cxn>
                  <a:cxn ang="0">
                    <a:pos x="connsiteX2" y="connsiteY2"/>
                  </a:cxn>
                  <a:cxn ang="0">
                    <a:pos x="connsiteX3" y="connsiteY3"/>
                  </a:cxn>
                </a:cxnLst>
                <a:rect l="l" t="t" r="r" b="b"/>
                <a:pathLst>
                  <a:path w="28003" h="349377">
                    <a:moveTo>
                      <a:pt x="0" y="0"/>
                    </a:moveTo>
                    <a:lnTo>
                      <a:pt x="28004" y="0"/>
                    </a:lnTo>
                    <a:lnTo>
                      <a:pt x="28004" y="349377"/>
                    </a:lnTo>
                    <a:lnTo>
                      <a:pt x="0" y="349377"/>
                    </a:lnTo>
                    <a:close/>
                  </a:path>
                </a:pathLst>
              </a:custGeom>
              <a:solidFill>
                <a:srgbClr val="663F3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06" name="Forma libre: forma 205">
                <a:extLst>
                  <a:ext uri="{FF2B5EF4-FFF2-40B4-BE49-F238E27FC236}">
                    <a16:creationId xmlns:a16="http://schemas.microsoft.com/office/drawing/2014/main" id="{D0D252D6-5A17-4690-937F-C6F2FD9DDC90}"/>
                  </a:ext>
                </a:extLst>
              </p:cNvPr>
              <p:cNvSpPr/>
              <p:nvPr/>
            </p:nvSpPr>
            <p:spPr>
              <a:xfrm>
                <a:off x="4137646" y="4497419"/>
                <a:ext cx="346900" cy="152209"/>
              </a:xfrm>
              <a:custGeom>
                <a:avLst/>
                <a:gdLst>
                  <a:gd name="connsiteX0" fmla="*/ 346901 w 346900"/>
                  <a:gd name="connsiteY0" fmla="*/ 111442 h 152209"/>
                  <a:gd name="connsiteX1" fmla="*/ 335471 w 346900"/>
                  <a:gd name="connsiteY1" fmla="*/ 152209 h 152209"/>
                  <a:gd name="connsiteX2" fmla="*/ 304514 w 346900"/>
                  <a:gd name="connsiteY2" fmla="*/ 146304 h 152209"/>
                  <a:gd name="connsiteX3" fmla="*/ 228410 w 346900"/>
                  <a:gd name="connsiteY3" fmla="*/ 110014 h 152209"/>
                  <a:gd name="connsiteX4" fmla="*/ 28004 w 346900"/>
                  <a:gd name="connsiteY4" fmla="*/ 40196 h 152209"/>
                  <a:gd name="connsiteX5" fmla="*/ 0 w 346900"/>
                  <a:gd name="connsiteY5" fmla="*/ 40196 h 152209"/>
                  <a:gd name="connsiteX6" fmla="*/ 0 w 346900"/>
                  <a:gd name="connsiteY6" fmla="*/ 0 h 152209"/>
                  <a:gd name="connsiteX7" fmla="*/ 50387 w 346900"/>
                  <a:gd name="connsiteY7" fmla="*/ 0 h 152209"/>
                  <a:gd name="connsiteX8" fmla="*/ 248698 w 346900"/>
                  <a:gd name="connsiteY8" fmla="*/ 73723 h 152209"/>
                  <a:gd name="connsiteX9" fmla="*/ 315849 w 346900"/>
                  <a:gd name="connsiteY9" fmla="*/ 106489 h 152209"/>
                  <a:gd name="connsiteX10" fmla="*/ 346901 w 346900"/>
                  <a:gd name="connsiteY10" fmla="*/ 111442 h 152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6900" h="152209">
                    <a:moveTo>
                      <a:pt x="346901" y="111442"/>
                    </a:moveTo>
                    <a:lnTo>
                      <a:pt x="335471" y="152209"/>
                    </a:lnTo>
                    <a:cubicBezTo>
                      <a:pt x="324707" y="151257"/>
                      <a:pt x="314135" y="149447"/>
                      <a:pt x="304514" y="146304"/>
                    </a:cubicBezTo>
                    <a:cubicBezTo>
                      <a:pt x="282321" y="139160"/>
                      <a:pt x="257270" y="126111"/>
                      <a:pt x="228410" y="110014"/>
                    </a:cubicBezTo>
                    <a:cubicBezTo>
                      <a:pt x="174593" y="79629"/>
                      <a:pt x="107632" y="42481"/>
                      <a:pt x="28004" y="40196"/>
                    </a:cubicBezTo>
                    <a:lnTo>
                      <a:pt x="0" y="40196"/>
                    </a:lnTo>
                    <a:lnTo>
                      <a:pt x="0" y="0"/>
                    </a:lnTo>
                    <a:lnTo>
                      <a:pt x="50387" y="0"/>
                    </a:lnTo>
                    <a:cubicBezTo>
                      <a:pt x="130873" y="7906"/>
                      <a:pt x="198120" y="45434"/>
                      <a:pt x="248698" y="73723"/>
                    </a:cubicBezTo>
                    <a:cubicBezTo>
                      <a:pt x="275177" y="88773"/>
                      <a:pt x="298037" y="101441"/>
                      <a:pt x="315849" y="106489"/>
                    </a:cubicBezTo>
                    <a:cubicBezTo>
                      <a:pt x="326231" y="109442"/>
                      <a:pt x="336709" y="110871"/>
                      <a:pt x="346901" y="111442"/>
                    </a:cubicBezTo>
                    <a:close/>
                  </a:path>
                </a:pathLst>
              </a:custGeom>
              <a:solidFill>
                <a:srgbClr val="E49306"/>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07" name="Forma libre: forma 206">
                <a:extLst>
                  <a:ext uri="{FF2B5EF4-FFF2-40B4-BE49-F238E27FC236}">
                    <a16:creationId xmlns:a16="http://schemas.microsoft.com/office/drawing/2014/main" id="{FD43059D-EA74-46F6-8ADD-C2EB82E14E3B}"/>
                  </a:ext>
                </a:extLst>
              </p:cNvPr>
              <p:cNvSpPr/>
              <p:nvPr/>
            </p:nvSpPr>
            <p:spPr>
              <a:xfrm>
                <a:off x="4137646" y="5285136"/>
                <a:ext cx="168020" cy="37814"/>
              </a:xfrm>
              <a:custGeom>
                <a:avLst/>
                <a:gdLst>
                  <a:gd name="connsiteX0" fmla="*/ 138208 w 168020"/>
                  <a:gd name="connsiteY0" fmla="*/ 0 h 37814"/>
                  <a:gd name="connsiteX1" fmla="*/ 168021 w 168020"/>
                  <a:gd name="connsiteY1" fmla="*/ 0 h 37814"/>
                  <a:gd name="connsiteX2" fmla="*/ 168021 w 168020"/>
                  <a:gd name="connsiteY2" fmla="*/ 37814 h 37814"/>
                  <a:gd name="connsiteX3" fmla="*/ 0 w 168020"/>
                  <a:gd name="connsiteY3" fmla="*/ 37814 h 37814"/>
                  <a:gd name="connsiteX4" fmla="*/ 0 w 168020"/>
                  <a:gd name="connsiteY4" fmla="*/ 0 h 37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020" h="37814">
                    <a:moveTo>
                      <a:pt x="138208" y="0"/>
                    </a:moveTo>
                    <a:lnTo>
                      <a:pt x="168021" y="0"/>
                    </a:lnTo>
                    <a:lnTo>
                      <a:pt x="168021" y="37814"/>
                    </a:lnTo>
                    <a:lnTo>
                      <a:pt x="0" y="37814"/>
                    </a:lnTo>
                    <a:lnTo>
                      <a:pt x="0" y="0"/>
                    </a:lnTo>
                    <a:close/>
                  </a:path>
                </a:pathLst>
              </a:custGeom>
              <a:solidFill>
                <a:srgbClr val="663F30"/>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08" name="Forma libre: forma 207">
                <a:extLst>
                  <a:ext uri="{FF2B5EF4-FFF2-40B4-BE49-F238E27FC236}">
                    <a16:creationId xmlns:a16="http://schemas.microsoft.com/office/drawing/2014/main" id="{0BECA372-E8DE-4A5E-9812-4A5EE882CC6B}"/>
                  </a:ext>
                </a:extLst>
              </p:cNvPr>
              <p:cNvSpPr/>
              <p:nvPr/>
            </p:nvSpPr>
            <p:spPr>
              <a:xfrm>
                <a:off x="4137646" y="4481798"/>
                <a:ext cx="50387" cy="15620"/>
              </a:xfrm>
              <a:custGeom>
                <a:avLst/>
                <a:gdLst>
                  <a:gd name="connsiteX0" fmla="*/ 0 w 50387"/>
                  <a:gd name="connsiteY0" fmla="*/ 0 h 15620"/>
                  <a:gd name="connsiteX1" fmla="*/ 50387 w 50387"/>
                  <a:gd name="connsiteY1" fmla="*/ 0 h 15620"/>
                  <a:gd name="connsiteX2" fmla="*/ 50387 w 50387"/>
                  <a:gd name="connsiteY2" fmla="*/ 15621 h 15620"/>
                  <a:gd name="connsiteX3" fmla="*/ 0 w 50387"/>
                  <a:gd name="connsiteY3" fmla="*/ 15621 h 15620"/>
                </a:gdLst>
                <a:ahLst/>
                <a:cxnLst>
                  <a:cxn ang="0">
                    <a:pos x="connsiteX0" y="connsiteY0"/>
                  </a:cxn>
                  <a:cxn ang="0">
                    <a:pos x="connsiteX1" y="connsiteY1"/>
                  </a:cxn>
                  <a:cxn ang="0">
                    <a:pos x="connsiteX2" y="connsiteY2"/>
                  </a:cxn>
                  <a:cxn ang="0">
                    <a:pos x="connsiteX3" y="connsiteY3"/>
                  </a:cxn>
                </a:cxnLst>
                <a:rect l="l" t="t" r="r" b="b"/>
                <a:pathLst>
                  <a:path w="50387" h="15620">
                    <a:moveTo>
                      <a:pt x="0" y="0"/>
                    </a:moveTo>
                    <a:lnTo>
                      <a:pt x="50387" y="0"/>
                    </a:lnTo>
                    <a:lnTo>
                      <a:pt x="50387" y="15621"/>
                    </a:lnTo>
                    <a:lnTo>
                      <a:pt x="0" y="15621"/>
                    </a:lnTo>
                    <a:close/>
                  </a:path>
                </a:pathLst>
              </a:custGeom>
              <a:solidFill>
                <a:srgbClr val="13202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09" name="Forma libre: forma 208">
                <a:extLst>
                  <a:ext uri="{FF2B5EF4-FFF2-40B4-BE49-F238E27FC236}">
                    <a16:creationId xmlns:a16="http://schemas.microsoft.com/office/drawing/2014/main" id="{7A8AEDE5-4FAD-4BBF-914C-26C4223575E8}"/>
                  </a:ext>
                </a:extLst>
              </p:cNvPr>
              <p:cNvSpPr/>
              <p:nvPr/>
            </p:nvSpPr>
            <p:spPr>
              <a:xfrm>
                <a:off x="4499024" y="4648200"/>
                <a:ext cx="140874" cy="415480"/>
              </a:xfrm>
              <a:custGeom>
                <a:avLst/>
                <a:gdLst>
                  <a:gd name="connsiteX0" fmla="*/ 114395 w 140874"/>
                  <a:gd name="connsiteY0" fmla="*/ 415480 h 415480"/>
                  <a:gd name="connsiteX1" fmla="*/ 112871 w 140874"/>
                  <a:gd name="connsiteY1" fmla="*/ 415480 h 415480"/>
                  <a:gd name="connsiteX2" fmla="*/ 0 w 140874"/>
                  <a:gd name="connsiteY2" fmla="*/ 9049 h 415480"/>
                  <a:gd name="connsiteX3" fmla="*/ 2000 w 140874"/>
                  <a:gd name="connsiteY3" fmla="*/ 1810 h 415480"/>
                  <a:gd name="connsiteX4" fmla="*/ 25432 w 140874"/>
                  <a:gd name="connsiteY4" fmla="*/ 0 h 415480"/>
                  <a:gd name="connsiteX5" fmla="*/ 140875 w 140874"/>
                  <a:gd name="connsiteY5" fmla="*/ 415385 h 415480"/>
                  <a:gd name="connsiteX6" fmla="*/ 133445 w 140874"/>
                  <a:gd name="connsiteY6" fmla="*/ 415385 h 415480"/>
                  <a:gd name="connsiteX7" fmla="*/ 114395 w 140874"/>
                  <a:gd name="connsiteY7" fmla="*/ 415385 h 41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874" h="415480">
                    <a:moveTo>
                      <a:pt x="114395" y="415480"/>
                    </a:moveTo>
                    <a:lnTo>
                      <a:pt x="112871" y="415480"/>
                    </a:lnTo>
                    <a:lnTo>
                      <a:pt x="0" y="9049"/>
                    </a:lnTo>
                    <a:cubicBezTo>
                      <a:pt x="667" y="6668"/>
                      <a:pt x="1333" y="4096"/>
                      <a:pt x="2000" y="1810"/>
                    </a:cubicBezTo>
                    <a:cubicBezTo>
                      <a:pt x="9906" y="1524"/>
                      <a:pt x="17812" y="953"/>
                      <a:pt x="25432" y="0"/>
                    </a:cubicBezTo>
                    <a:lnTo>
                      <a:pt x="140875" y="415385"/>
                    </a:lnTo>
                    <a:lnTo>
                      <a:pt x="133445" y="415385"/>
                    </a:lnTo>
                    <a:lnTo>
                      <a:pt x="114395" y="415385"/>
                    </a:lnTo>
                    <a:close/>
                  </a:path>
                </a:pathLst>
              </a:custGeom>
              <a:solidFill>
                <a:srgbClr val="13202B"/>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sp>
            <p:nvSpPr>
              <p:cNvPr id="210" name="Forma libre: forma 209">
                <a:extLst>
                  <a:ext uri="{FF2B5EF4-FFF2-40B4-BE49-F238E27FC236}">
                    <a16:creationId xmlns:a16="http://schemas.microsoft.com/office/drawing/2014/main" id="{B3E90E99-D92C-4F75-9588-69812DBDFCF0}"/>
                  </a:ext>
                </a:extLst>
              </p:cNvPr>
              <p:cNvSpPr/>
              <p:nvPr/>
            </p:nvSpPr>
            <p:spPr>
              <a:xfrm>
                <a:off x="4356721" y="4599432"/>
                <a:ext cx="156305" cy="464248"/>
              </a:xfrm>
              <a:custGeom>
                <a:avLst/>
                <a:gdLst>
                  <a:gd name="connsiteX0" fmla="*/ 156305 w 156305"/>
                  <a:gd name="connsiteY0" fmla="*/ 7525 h 464248"/>
                  <a:gd name="connsiteX1" fmla="*/ 156305 w 156305"/>
                  <a:gd name="connsiteY1" fmla="*/ 7525 h 464248"/>
                  <a:gd name="connsiteX2" fmla="*/ 156020 w 156305"/>
                  <a:gd name="connsiteY2" fmla="*/ 8572 h 464248"/>
                  <a:gd name="connsiteX3" fmla="*/ 144208 w 156305"/>
                  <a:gd name="connsiteY3" fmla="*/ 50673 h 464248"/>
                  <a:gd name="connsiteX4" fmla="*/ 27908 w 156305"/>
                  <a:gd name="connsiteY4" fmla="*/ 464248 h 464248"/>
                  <a:gd name="connsiteX5" fmla="*/ 0 w 156305"/>
                  <a:gd name="connsiteY5" fmla="*/ 464248 h 464248"/>
                  <a:gd name="connsiteX6" fmla="*/ 116396 w 156305"/>
                  <a:gd name="connsiteY6" fmla="*/ 50197 h 464248"/>
                  <a:gd name="connsiteX7" fmla="*/ 127826 w 156305"/>
                  <a:gd name="connsiteY7" fmla="*/ 9430 h 464248"/>
                  <a:gd name="connsiteX8" fmla="*/ 128302 w 156305"/>
                  <a:gd name="connsiteY8" fmla="*/ 7620 h 464248"/>
                  <a:gd name="connsiteX9" fmla="*/ 135446 w 156305"/>
                  <a:gd name="connsiteY9" fmla="*/ 0 h 464248"/>
                  <a:gd name="connsiteX10" fmla="*/ 149162 w 156305"/>
                  <a:gd name="connsiteY10" fmla="*/ 0 h 464248"/>
                  <a:gd name="connsiteX11" fmla="*/ 156305 w 156305"/>
                  <a:gd name="connsiteY11" fmla="*/ 7525 h 46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305" h="464248">
                    <a:moveTo>
                      <a:pt x="156305" y="7525"/>
                    </a:moveTo>
                    <a:lnTo>
                      <a:pt x="156305" y="7525"/>
                    </a:lnTo>
                    <a:cubicBezTo>
                      <a:pt x="156305" y="7620"/>
                      <a:pt x="156210" y="8096"/>
                      <a:pt x="156020" y="8572"/>
                    </a:cubicBezTo>
                    <a:cubicBezTo>
                      <a:pt x="155067" y="12002"/>
                      <a:pt x="150781" y="27241"/>
                      <a:pt x="144208" y="50673"/>
                    </a:cubicBezTo>
                    <a:cubicBezTo>
                      <a:pt x="112300" y="164402"/>
                      <a:pt x="27908" y="464248"/>
                      <a:pt x="27908" y="464248"/>
                    </a:cubicBezTo>
                    <a:lnTo>
                      <a:pt x="0" y="464248"/>
                    </a:lnTo>
                    <a:lnTo>
                      <a:pt x="116396" y="50197"/>
                    </a:lnTo>
                    <a:lnTo>
                      <a:pt x="127826" y="9430"/>
                    </a:lnTo>
                    <a:lnTo>
                      <a:pt x="128302" y="7620"/>
                    </a:lnTo>
                    <a:cubicBezTo>
                      <a:pt x="128302" y="7620"/>
                      <a:pt x="129445" y="0"/>
                      <a:pt x="135446" y="0"/>
                    </a:cubicBezTo>
                    <a:lnTo>
                      <a:pt x="149162" y="0"/>
                    </a:lnTo>
                    <a:cubicBezTo>
                      <a:pt x="153162" y="0"/>
                      <a:pt x="156305" y="3334"/>
                      <a:pt x="156305" y="7525"/>
                    </a:cubicBezTo>
                    <a:close/>
                  </a:path>
                </a:pathLst>
              </a:custGeom>
              <a:solidFill>
                <a:srgbClr val="1E3346"/>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ndParaRPr>
              </a:p>
            </p:txBody>
          </p:sp>
        </p:grpSp>
      </p:grpSp>
      <p:pic>
        <p:nvPicPr>
          <p:cNvPr id="224" name="Gráfico 223">
            <a:extLst>
              <a:ext uri="{FF2B5EF4-FFF2-40B4-BE49-F238E27FC236}">
                <a16:creationId xmlns:a16="http://schemas.microsoft.com/office/drawing/2014/main" id="{882E27FA-3EC8-4A86-8721-075638B278B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7783" y="4469478"/>
            <a:ext cx="272163" cy="334120"/>
          </a:xfrm>
          <a:prstGeom prst="rect">
            <a:avLst/>
          </a:prstGeom>
          <a:effectLst>
            <a:outerShdw blurRad="50800" dist="38100" dir="2700000" sx="104000" sy="104000" algn="tl" rotWithShape="0">
              <a:prstClr val="black">
                <a:alpha val="40000"/>
              </a:prstClr>
            </a:outerShdw>
          </a:effectLst>
        </p:spPr>
      </p:pic>
      <p:pic>
        <p:nvPicPr>
          <p:cNvPr id="225" name="Imagen 224">
            <a:extLst>
              <a:ext uri="{FF2B5EF4-FFF2-40B4-BE49-F238E27FC236}">
                <a16:creationId xmlns:a16="http://schemas.microsoft.com/office/drawing/2014/main" id="{48A5413F-770C-4418-AE08-1B73D4C806F4}"/>
              </a:ext>
            </a:extLst>
          </p:cNvPr>
          <p:cNvPicPr>
            <a:picLocks noChangeAspect="1"/>
          </p:cNvPicPr>
          <p:nvPr/>
        </p:nvPicPr>
        <p:blipFill>
          <a:blip r:embed="rId14"/>
          <a:stretch>
            <a:fillRect/>
          </a:stretch>
        </p:blipFill>
        <p:spPr>
          <a:xfrm>
            <a:off x="30255" y="5038416"/>
            <a:ext cx="329536" cy="352837"/>
          </a:xfrm>
          <a:prstGeom prst="rect">
            <a:avLst/>
          </a:prstGeom>
          <a:effectLst>
            <a:outerShdw blurRad="50800" dist="38100" sx="105000" sy="105000" algn="l" rotWithShape="0">
              <a:prstClr val="black">
                <a:alpha val="40000"/>
              </a:prstClr>
            </a:outerShdw>
          </a:effectLst>
        </p:spPr>
      </p:pic>
      <p:pic>
        <p:nvPicPr>
          <p:cNvPr id="234" name="Imagen 233">
            <a:extLst>
              <a:ext uri="{FF2B5EF4-FFF2-40B4-BE49-F238E27FC236}">
                <a16:creationId xmlns:a16="http://schemas.microsoft.com/office/drawing/2014/main" id="{FAD8D1AE-6411-46FF-8020-78CD293532B9}"/>
              </a:ext>
            </a:extLst>
          </p:cNvPr>
          <p:cNvPicPr>
            <a:picLocks noChangeAspect="1"/>
          </p:cNvPicPr>
          <p:nvPr/>
        </p:nvPicPr>
        <p:blipFill rotWithShape="1">
          <a:blip r:embed="rId15"/>
          <a:srcRect l="26310" t="-27650" r="21129" b="-1"/>
          <a:stretch/>
        </p:blipFill>
        <p:spPr>
          <a:xfrm>
            <a:off x="4491" y="5455526"/>
            <a:ext cx="9161442" cy="298003"/>
          </a:xfrm>
          <a:prstGeom prst="rect">
            <a:avLst/>
          </a:prstGeom>
        </p:spPr>
      </p:pic>
      <p:sp>
        <p:nvSpPr>
          <p:cNvPr id="235" name="Rectángulo 234">
            <a:extLst>
              <a:ext uri="{FF2B5EF4-FFF2-40B4-BE49-F238E27FC236}">
                <a16:creationId xmlns:a16="http://schemas.microsoft.com/office/drawing/2014/main" id="{9DADFF6E-70A5-43E8-B3F5-C563991A7BBE}"/>
              </a:ext>
            </a:extLst>
          </p:cNvPr>
          <p:cNvSpPr/>
          <p:nvPr/>
        </p:nvSpPr>
        <p:spPr>
          <a:xfrm>
            <a:off x="7224706" y="3210015"/>
            <a:ext cx="1820230" cy="477931"/>
          </a:xfrm>
          <a:prstGeom prst="rect">
            <a:avLst/>
          </a:prstGeom>
          <a:solidFill>
            <a:srgbClr val="FFECCC"/>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FFFFFF"/>
              </a:solidFill>
              <a:effectLst/>
              <a:uLnTx/>
              <a:uFillTx/>
              <a:latin typeface="+mj-lt"/>
              <a:ea typeface="+mn-ea"/>
              <a:cs typeface="+mn-cs"/>
            </a:endParaRPr>
          </a:p>
        </p:txBody>
      </p:sp>
      <p:sp>
        <p:nvSpPr>
          <p:cNvPr id="236" name="CuadroTexto 235">
            <a:extLst>
              <a:ext uri="{FF2B5EF4-FFF2-40B4-BE49-F238E27FC236}">
                <a16:creationId xmlns:a16="http://schemas.microsoft.com/office/drawing/2014/main" id="{D96A2C2F-AD63-4688-BDB7-D68C2CD96B62}"/>
              </a:ext>
            </a:extLst>
          </p:cNvPr>
          <p:cNvSpPr txBox="1"/>
          <p:nvPr/>
        </p:nvSpPr>
        <p:spPr>
          <a:xfrm>
            <a:off x="7234610" y="3221534"/>
            <a:ext cx="1820231" cy="458993"/>
          </a:xfrm>
          <a:prstGeom prst="rect">
            <a:avLst/>
          </a:prstGeom>
          <a:noFill/>
          <a:ln>
            <a:noFill/>
          </a:ln>
        </p:spPr>
        <p:txBody>
          <a:bodyPr wrap="square" lIns="33231" tIns="33231" rIns="33231" bIns="0" rtlCol="0">
            <a:spAutoFit/>
          </a:bodyPr>
          <a:lstStyle>
            <a:defPPr>
              <a:defRPr lang="es-ES"/>
            </a:defPPr>
            <a:lvl1pPr marL="92075" indent="-92075">
              <a:lnSpc>
                <a:spcPts val="1000"/>
              </a:lnSpc>
              <a:buClr>
                <a:schemeClr val="accent6">
                  <a:lumMod val="75000"/>
                </a:schemeClr>
              </a:buClr>
              <a:buFont typeface="Arial" panose="020B0604020202020204" pitchFamily="34" charset="0"/>
              <a:buChar char="•"/>
              <a:defRPr sz="1000">
                <a:latin typeface="Arial Narrow" panose="020B0606020202030204" pitchFamily="34" charset="0"/>
              </a:defRPr>
            </a:lvl1pPr>
          </a:lstStyle>
          <a:p>
            <a:pPr marL="92075" marR="0" lvl="0" indent="-92075" defTabSz="914400" eaLnBrk="1" fontAlgn="auto" latinLnBrk="0" hangingPunct="1">
              <a:lnSpc>
                <a:spcPts val="1108"/>
              </a:lnSpc>
              <a:spcBef>
                <a:spcPts val="0"/>
              </a:spcBef>
              <a:spcAft>
                <a:spcPts val="0"/>
              </a:spcAft>
              <a:buClr>
                <a:srgbClr val="F2B808"/>
              </a:buClr>
              <a:buSzTx/>
              <a:buFont typeface="Arial" panose="020B0604020202020204" pitchFamily="34" charset="0"/>
              <a:buChar char="•"/>
              <a:tabLst/>
              <a:defRPr/>
            </a:pPr>
            <a:r>
              <a:rPr kumimoji="0" lang="es-ES" sz="1108" b="0" i="0" u="none" strike="noStrike" kern="0" cap="none" spc="0" normalizeH="0" baseline="0" noProof="0" dirty="0">
                <a:ln>
                  <a:noFill/>
                </a:ln>
                <a:solidFill>
                  <a:srgbClr val="4E4E4E">
                    <a:lumMod val="50000"/>
                  </a:srgbClr>
                </a:solidFill>
                <a:effectLst/>
                <a:uLnTx/>
                <a:uFillTx/>
                <a:latin typeface="+mj-lt"/>
              </a:rPr>
              <a:t>Reuniones entre los profesionales de los Órganos Judiciales y Fiscalías</a:t>
            </a:r>
          </a:p>
        </p:txBody>
      </p:sp>
      <p:pic>
        <p:nvPicPr>
          <p:cNvPr id="237" name="Gráfico 236">
            <a:extLst>
              <a:ext uri="{FF2B5EF4-FFF2-40B4-BE49-F238E27FC236}">
                <a16:creationId xmlns:a16="http://schemas.microsoft.com/office/drawing/2014/main" id="{75944C0E-ECD9-4CD9-BCF6-012C499AB355}"/>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592131" y="5245503"/>
            <a:ext cx="852101" cy="464781"/>
          </a:xfrm>
          <a:prstGeom prst="rect">
            <a:avLst/>
          </a:prstGeom>
        </p:spPr>
      </p:pic>
      <p:pic>
        <p:nvPicPr>
          <p:cNvPr id="238" name="Gráfico 237">
            <a:extLst>
              <a:ext uri="{FF2B5EF4-FFF2-40B4-BE49-F238E27FC236}">
                <a16:creationId xmlns:a16="http://schemas.microsoft.com/office/drawing/2014/main" id="{5DC3AFAC-3BEB-4AE8-B1F2-7274A3900DC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7518499" y="4646633"/>
            <a:ext cx="270494" cy="872562"/>
          </a:xfrm>
          <a:prstGeom prst="rect">
            <a:avLst/>
          </a:prstGeom>
        </p:spPr>
      </p:pic>
      <p:pic>
        <p:nvPicPr>
          <p:cNvPr id="239" name="Gráfico 238">
            <a:extLst>
              <a:ext uri="{FF2B5EF4-FFF2-40B4-BE49-F238E27FC236}">
                <a16:creationId xmlns:a16="http://schemas.microsoft.com/office/drawing/2014/main" id="{33129504-2FA1-4D1C-A93B-1687B22353B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127334" y="4656790"/>
            <a:ext cx="270494" cy="872562"/>
          </a:xfrm>
          <a:prstGeom prst="rect">
            <a:avLst/>
          </a:prstGeom>
        </p:spPr>
      </p:pic>
      <p:pic>
        <p:nvPicPr>
          <p:cNvPr id="240" name="Gráfico 239">
            <a:extLst>
              <a:ext uri="{FF2B5EF4-FFF2-40B4-BE49-F238E27FC236}">
                <a16:creationId xmlns:a16="http://schemas.microsoft.com/office/drawing/2014/main" id="{DE682F74-D424-435E-A956-B8D6ED2738A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flipH="1">
            <a:off x="6346541" y="4638744"/>
            <a:ext cx="277687" cy="872565"/>
          </a:xfrm>
          <a:prstGeom prst="rect">
            <a:avLst/>
          </a:prstGeom>
        </p:spPr>
      </p:pic>
      <p:pic>
        <p:nvPicPr>
          <p:cNvPr id="241" name="Gráfico 240">
            <a:extLst>
              <a:ext uri="{FF2B5EF4-FFF2-40B4-BE49-F238E27FC236}">
                <a16:creationId xmlns:a16="http://schemas.microsoft.com/office/drawing/2014/main" id="{6F780C07-41A0-49E8-BCA6-7ED59DFAFCE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835848" y="4665160"/>
            <a:ext cx="285726" cy="872563"/>
          </a:xfrm>
          <a:prstGeom prst="rect">
            <a:avLst/>
          </a:prstGeom>
        </p:spPr>
      </p:pic>
      <p:pic>
        <p:nvPicPr>
          <p:cNvPr id="242" name="Gráfico 241">
            <a:extLst>
              <a:ext uri="{FF2B5EF4-FFF2-40B4-BE49-F238E27FC236}">
                <a16:creationId xmlns:a16="http://schemas.microsoft.com/office/drawing/2014/main" id="{3C2C3CA8-2978-45C5-8464-15145D6D7CE9}"/>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646720" y="4665162"/>
            <a:ext cx="258229" cy="872563"/>
          </a:xfrm>
          <a:prstGeom prst="rect">
            <a:avLst/>
          </a:prstGeom>
        </p:spPr>
      </p:pic>
      <p:pic>
        <p:nvPicPr>
          <p:cNvPr id="243" name="Gráfico 242">
            <a:extLst>
              <a:ext uri="{FF2B5EF4-FFF2-40B4-BE49-F238E27FC236}">
                <a16:creationId xmlns:a16="http://schemas.microsoft.com/office/drawing/2014/main" id="{D1B1080C-FB70-45D6-A0EC-7218638FD34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6931492" y="4656788"/>
            <a:ext cx="287172" cy="872562"/>
          </a:xfrm>
          <a:prstGeom prst="rect">
            <a:avLst/>
          </a:prstGeom>
        </p:spPr>
      </p:pic>
      <p:pic>
        <p:nvPicPr>
          <p:cNvPr id="244" name="Gráfico 243">
            <a:extLst>
              <a:ext uri="{FF2B5EF4-FFF2-40B4-BE49-F238E27FC236}">
                <a16:creationId xmlns:a16="http://schemas.microsoft.com/office/drawing/2014/main" id="{3892A3B2-1444-40D4-B969-3724D0E2B04F}"/>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7322658" y="4646633"/>
            <a:ext cx="287172" cy="872562"/>
          </a:xfrm>
          <a:prstGeom prst="rect">
            <a:avLst/>
          </a:prstGeom>
        </p:spPr>
      </p:pic>
      <p:sp>
        <p:nvSpPr>
          <p:cNvPr id="245" name="Arco 244">
            <a:extLst>
              <a:ext uri="{FF2B5EF4-FFF2-40B4-BE49-F238E27FC236}">
                <a16:creationId xmlns:a16="http://schemas.microsoft.com/office/drawing/2014/main" id="{A5B5F546-A3C9-415F-81B1-317D51D86382}"/>
              </a:ext>
            </a:extLst>
          </p:cNvPr>
          <p:cNvSpPr/>
          <p:nvPr/>
        </p:nvSpPr>
        <p:spPr>
          <a:xfrm rot="19148577">
            <a:off x="3482299" y="3707767"/>
            <a:ext cx="1965972" cy="820987"/>
          </a:xfrm>
          <a:prstGeom prst="arc">
            <a:avLst>
              <a:gd name="adj1" fmla="val 11202432"/>
              <a:gd name="adj2" fmla="val 20845708"/>
            </a:avLst>
          </a:prstGeom>
          <a:noFill/>
          <a:ln w="9525" cap="flat" cmpd="sng" algn="ctr">
            <a:solidFill>
              <a:srgbClr val="FF2719">
                <a:lumMod val="50000"/>
              </a:srgbClr>
            </a:solidFill>
            <a:prstDash val="solid"/>
            <a:headEnd type="triangle"/>
            <a:tailEnd type="triangle"/>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417" b="0" i="0" u="none" strike="noStrike" kern="0" cap="none" spc="0" normalizeH="0" baseline="0" noProof="0">
              <a:ln>
                <a:noFill/>
              </a:ln>
              <a:solidFill>
                <a:srgbClr val="4E4E4E"/>
              </a:solidFill>
              <a:effectLst/>
              <a:uLnTx/>
              <a:uFillTx/>
              <a:latin typeface="+mj-lt"/>
              <a:ea typeface="+mn-ea"/>
              <a:cs typeface="+mn-cs"/>
            </a:endParaRPr>
          </a:p>
        </p:txBody>
      </p:sp>
      <p:sp>
        <p:nvSpPr>
          <p:cNvPr id="246" name="Rectángulo 245">
            <a:extLst>
              <a:ext uri="{FF2B5EF4-FFF2-40B4-BE49-F238E27FC236}">
                <a16:creationId xmlns:a16="http://schemas.microsoft.com/office/drawing/2014/main" id="{27EA791D-2ED5-423B-8D5E-B3D10DE27BEF}"/>
              </a:ext>
            </a:extLst>
          </p:cNvPr>
          <p:cNvSpPr/>
          <p:nvPr/>
        </p:nvSpPr>
        <p:spPr>
          <a:xfrm>
            <a:off x="3171912" y="3613461"/>
            <a:ext cx="1251303" cy="597813"/>
          </a:xfrm>
          <a:prstGeom prst="rect">
            <a:avLst/>
          </a:prstGeom>
          <a:solidFill>
            <a:srgbClr val="FFE7E5"/>
          </a:solidFill>
          <a:ln>
            <a:noFill/>
          </a:ln>
        </p:spPr>
        <p:txBody>
          <a:bodyPr wrap="square" lIns="33231" tIns="33231" rIns="33231" bIns="0" rtlCol="0">
            <a:spAutoFit/>
          </a:bodyPr>
          <a:lstStyle/>
          <a:p>
            <a:pPr marL="84992" indent="-84992">
              <a:lnSpc>
                <a:spcPts val="1108"/>
              </a:lnSpc>
              <a:buClr>
                <a:srgbClr val="8C0900"/>
              </a:buClr>
              <a:buFont typeface="Arial" panose="020B0604020202020204" pitchFamily="34" charset="0"/>
              <a:buChar char="•"/>
            </a:pPr>
            <a:r>
              <a:rPr lang="es-ES" sz="1108" dirty="0">
                <a:solidFill>
                  <a:srgbClr val="4E4E4E">
                    <a:lumMod val="50000"/>
                  </a:srgbClr>
                </a:solidFill>
                <a:latin typeface="+mj-lt"/>
              </a:rPr>
              <a:t>Reuniones entre los profesionales del Órgano Judicial y hospitales</a:t>
            </a:r>
          </a:p>
        </p:txBody>
      </p:sp>
      <p:pic>
        <p:nvPicPr>
          <p:cNvPr id="247" name="Gráfico 246">
            <a:extLst>
              <a:ext uri="{FF2B5EF4-FFF2-40B4-BE49-F238E27FC236}">
                <a16:creationId xmlns:a16="http://schemas.microsoft.com/office/drawing/2014/main" id="{6373235D-DCA2-4C90-A757-F90E935F8820}"/>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5101761" y="4681036"/>
            <a:ext cx="260441" cy="840133"/>
          </a:xfrm>
          <a:prstGeom prst="rect">
            <a:avLst/>
          </a:prstGeom>
        </p:spPr>
      </p:pic>
      <p:pic>
        <p:nvPicPr>
          <p:cNvPr id="248" name="Gráfico 247">
            <a:extLst>
              <a:ext uri="{FF2B5EF4-FFF2-40B4-BE49-F238E27FC236}">
                <a16:creationId xmlns:a16="http://schemas.microsoft.com/office/drawing/2014/main" id="{15001589-8FB0-42A4-834C-5725A6B4A850}"/>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4855049" y="4690130"/>
            <a:ext cx="260441" cy="840133"/>
          </a:xfrm>
          <a:prstGeom prst="rect">
            <a:avLst/>
          </a:prstGeom>
        </p:spPr>
      </p:pic>
      <p:pic>
        <p:nvPicPr>
          <p:cNvPr id="249" name="Gráfico 248">
            <a:extLst>
              <a:ext uri="{FF2B5EF4-FFF2-40B4-BE49-F238E27FC236}">
                <a16:creationId xmlns:a16="http://schemas.microsoft.com/office/drawing/2014/main" id="{E5C2F49F-4310-4E48-BDB1-DAF8962AB8CB}"/>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5298157" y="4690130"/>
            <a:ext cx="276499" cy="840133"/>
          </a:xfrm>
          <a:prstGeom prst="rect">
            <a:avLst/>
          </a:prstGeom>
        </p:spPr>
      </p:pic>
      <p:pic>
        <p:nvPicPr>
          <p:cNvPr id="250" name="Gráfico 249">
            <a:extLst>
              <a:ext uri="{FF2B5EF4-FFF2-40B4-BE49-F238E27FC236}">
                <a16:creationId xmlns:a16="http://schemas.microsoft.com/office/drawing/2014/main" id="{AA2094DC-BB73-487F-8B01-FC769EE51A50}"/>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a:xfrm>
            <a:off x="4023548" y="4700291"/>
            <a:ext cx="257863" cy="840133"/>
          </a:xfrm>
          <a:prstGeom prst="rect">
            <a:avLst/>
          </a:prstGeom>
        </p:spPr>
      </p:pic>
      <p:pic>
        <p:nvPicPr>
          <p:cNvPr id="251" name="Gráfico 250">
            <a:extLst>
              <a:ext uri="{FF2B5EF4-FFF2-40B4-BE49-F238E27FC236}">
                <a16:creationId xmlns:a16="http://schemas.microsoft.com/office/drawing/2014/main" id="{5BA0A6F2-3214-48BF-B672-D85C44C2A4C6}"/>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4658254" y="4690130"/>
            <a:ext cx="246864" cy="840133"/>
          </a:xfrm>
          <a:prstGeom prst="rect">
            <a:avLst/>
          </a:prstGeom>
        </p:spPr>
      </p:pic>
      <p:pic>
        <p:nvPicPr>
          <p:cNvPr id="252" name="Gráfico 251">
            <a:extLst>
              <a:ext uri="{FF2B5EF4-FFF2-40B4-BE49-F238E27FC236}">
                <a16:creationId xmlns:a16="http://schemas.microsoft.com/office/drawing/2014/main" id="{8DDC38AE-DB66-49E6-B569-46B9EE39E7B1}"/>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4431823" y="4690130"/>
            <a:ext cx="276499" cy="840133"/>
          </a:xfrm>
          <a:prstGeom prst="rect">
            <a:avLst/>
          </a:prstGeom>
        </p:spPr>
      </p:pic>
      <p:pic>
        <p:nvPicPr>
          <p:cNvPr id="253" name="Gráfico 252">
            <a:extLst>
              <a:ext uri="{FF2B5EF4-FFF2-40B4-BE49-F238E27FC236}">
                <a16:creationId xmlns:a16="http://schemas.microsoft.com/office/drawing/2014/main" id="{DDE814F9-88B8-44D8-9FCC-BF3A4D799B58}"/>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2823692" y="4690130"/>
            <a:ext cx="271004" cy="840133"/>
          </a:xfrm>
          <a:prstGeom prst="rect">
            <a:avLst/>
          </a:prstGeom>
        </p:spPr>
      </p:pic>
      <p:sp>
        <p:nvSpPr>
          <p:cNvPr id="264" name="Rectángulo 263">
            <a:extLst>
              <a:ext uri="{FF2B5EF4-FFF2-40B4-BE49-F238E27FC236}">
                <a16:creationId xmlns:a16="http://schemas.microsoft.com/office/drawing/2014/main" id="{01799A16-23DD-4940-989D-20BEC9CB543C}"/>
              </a:ext>
            </a:extLst>
          </p:cNvPr>
          <p:cNvSpPr/>
          <p:nvPr/>
        </p:nvSpPr>
        <p:spPr>
          <a:xfrm>
            <a:off x="166992" y="898337"/>
            <a:ext cx="8964607" cy="646331"/>
          </a:xfrm>
          <a:prstGeom prst="rect">
            <a:avLst/>
          </a:prstGeom>
          <a:solidFill>
            <a:srgbClr val="FFFFFF"/>
          </a:solid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s-ES" dirty="0">
                <a:solidFill>
                  <a:srgbClr val="4E4E4E"/>
                </a:solidFill>
                <a:latin typeface="+mj-lt"/>
                <a:ea typeface="+mn-lt"/>
                <a:cs typeface="Arial"/>
              </a:rPr>
              <a:t>A continuación, se muestran algunos supuestos para los que actualmente los profesionales de la Justicia emplean el teletrabajo</a:t>
            </a:r>
          </a:p>
        </p:txBody>
      </p:sp>
      <p:sp>
        <p:nvSpPr>
          <p:cNvPr id="98" name="Marcador de número de diapositiva 1">
            <a:extLst>
              <a:ext uri="{FF2B5EF4-FFF2-40B4-BE49-F238E27FC236}">
                <a16:creationId xmlns:a16="http://schemas.microsoft.com/office/drawing/2014/main" id="{B9FEBBBF-AA52-433E-99B5-CA36A47F13FA}"/>
              </a:ext>
            </a:extLst>
          </p:cNvPr>
          <p:cNvSpPr txBox="1">
            <a:spLocks/>
          </p:cNvSpPr>
          <p:nvPr/>
        </p:nvSpPr>
        <p:spPr>
          <a:xfrm>
            <a:off x="6858714" y="6522290"/>
            <a:ext cx="2133600" cy="337038"/>
          </a:xfrm>
          <a:prstGeom prst="rect">
            <a:avLst/>
          </a:prstGeom>
        </p:spPr>
        <p:txBody>
          <a:bodyPr/>
          <a:lstStyle>
            <a:defPPr>
              <a:defRPr lang="es-ES"/>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44061">
              <a:defRPr/>
            </a:pPr>
            <a:fld id="{F72BFCD6-C37F-4D4F-B6AD-71D3A36D527F}" type="slidenum">
              <a:rPr lang="es-ES" smtClean="0">
                <a:latin typeface="+mj-lt"/>
              </a:rPr>
              <a:pPr defTabSz="844061">
                <a:defRPr/>
              </a:pPr>
              <a:t>7</a:t>
            </a:fld>
            <a:endParaRPr lang="es-ES" dirty="0">
              <a:latin typeface="+mj-lt"/>
            </a:endParaRPr>
          </a:p>
        </p:txBody>
      </p:sp>
      <p:pic>
        <p:nvPicPr>
          <p:cNvPr id="99" name="Imagen 98">
            <a:extLst>
              <a:ext uri="{FF2B5EF4-FFF2-40B4-BE49-F238E27FC236}">
                <a16:creationId xmlns:a16="http://schemas.microsoft.com/office/drawing/2014/main" id="{510BF9A9-DC57-4781-8277-140523C105E0}"/>
              </a:ext>
            </a:extLst>
          </p:cNvPr>
          <p:cNvPicPr>
            <a:picLocks noChangeAspect="1"/>
          </p:cNvPicPr>
          <p:nvPr/>
        </p:nvPicPr>
        <p:blipFill>
          <a:blip r:embed="rId46">
            <a:extLst>
              <a:ext uri="{28A0092B-C50C-407E-A947-70E740481C1C}">
                <a14:useLocalDpi xmlns:a14="http://schemas.microsoft.com/office/drawing/2010/main" val="0"/>
              </a:ext>
            </a:extLst>
          </a:blip>
          <a:srcRect/>
          <a:stretch/>
        </p:blipFill>
        <p:spPr>
          <a:xfrm>
            <a:off x="3725977" y="6456551"/>
            <a:ext cx="1803557" cy="254795"/>
          </a:xfrm>
          <a:prstGeom prst="rect">
            <a:avLst/>
          </a:prstGeom>
        </p:spPr>
      </p:pic>
    </p:spTree>
    <p:extLst>
      <p:ext uri="{BB962C8B-B14F-4D97-AF65-F5344CB8AC3E}">
        <p14:creationId xmlns:p14="http://schemas.microsoft.com/office/powerpoint/2010/main" val="17885873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 name="Rectángulo 254">
            <a:extLst>
              <a:ext uri="{FF2B5EF4-FFF2-40B4-BE49-F238E27FC236}">
                <a16:creationId xmlns:a16="http://schemas.microsoft.com/office/drawing/2014/main" id="{F82588CD-A931-4ABC-A129-10ABCF331A6B}"/>
              </a:ext>
            </a:extLst>
          </p:cNvPr>
          <p:cNvSpPr/>
          <p:nvPr/>
        </p:nvSpPr>
        <p:spPr>
          <a:xfrm flipH="1">
            <a:off x="-15876" y="286968"/>
            <a:ext cx="9159873" cy="6599513"/>
          </a:xfrm>
          <a:prstGeom prst="rect">
            <a:avLst/>
          </a:prstGeom>
          <a:gradFill flip="none" rotWithShape="1">
            <a:gsLst>
              <a:gs pos="46000">
                <a:schemeClr val="bg1"/>
              </a:gs>
              <a:gs pos="90000">
                <a:srgbClr val="FFFFFF"/>
              </a:gs>
              <a:gs pos="25000">
                <a:schemeClr val="bg1">
                  <a:alpha val="66000"/>
                </a:schemeClr>
              </a:gs>
              <a:gs pos="2000">
                <a:schemeClr val="bg1">
                  <a:alpha val="24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6" name="Objeto 5" hidden="1">
            <a:extLst>
              <a:ext uri="{FF2B5EF4-FFF2-40B4-BE49-F238E27FC236}">
                <a16:creationId xmlns:a16="http://schemas.microsoft.com/office/drawing/2014/main" id="{5665B547-BAA5-470B-8A52-5C58FDEE66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95" imgH="396" progId="TCLayout.ActiveDocument.1">
                  <p:embed/>
                </p:oleObj>
              </mc:Choice>
              <mc:Fallback>
                <p:oleObj name="Diapositiva de think-cell" r:id="rId5" imgW="395" imgH="396" progId="TCLayout.ActiveDocument.1">
                  <p:embed/>
                  <p:pic>
                    <p:nvPicPr>
                      <p:cNvPr id="6" name="Objeto 5" hidden="1">
                        <a:extLst>
                          <a:ext uri="{FF2B5EF4-FFF2-40B4-BE49-F238E27FC236}">
                            <a16:creationId xmlns:a16="http://schemas.microsoft.com/office/drawing/2014/main" id="{5665B547-BAA5-470B-8A52-5C58FDEE66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54" name="Imagen 253">
            <a:extLst>
              <a:ext uri="{FF2B5EF4-FFF2-40B4-BE49-F238E27FC236}">
                <a16:creationId xmlns:a16="http://schemas.microsoft.com/office/drawing/2014/main" id="{30C8F07F-2C7E-461E-9750-790EB1D5D5B5}"/>
              </a:ext>
            </a:extLst>
          </p:cNvPr>
          <p:cNvPicPr>
            <a:picLocks noChangeAspect="1"/>
          </p:cNvPicPr>
          <p:nvPr/>
        </p:nvPicPr>
        <p:blipFill rotWithShape="1">
          <a:blip r:embed="rId7">
            <a:extLst>
              <a:ext uri="{28A0092B-C50C-407E-A947-70E740481C1C}">
                <a14:useLocalDpi xmlns:a14="http://schemas.microsoft.com/office/drawing/2010/main" val="0"/>
              </a:ext>
            </a:extLst>
          </a:blip>
          <a:srcRect l="3421" r="13423" b="6762"/>
          <a:stretch/>
        </p:blipFill>
        <p:spPr>
          <a:xfrm>
            <a:off x="-23784" y="305552"/>
            <a:ext cx="9159872" cy="6580929"/>
          </a:xfrm>
          <a:prstGeom prst="rect">
            <a:avLst/>
          </a:prstGeom>
        </p:spPr>
      </p:pic>
      <p:sp>
        <p:nvSpPr>
          <p:cNvPr id="7" name="Rectángulo 6" hidden="1">
            <a:extLst>
              <a:ext uri="{FF2B5EF4-FFF2-40B4-BE49-F238E27FC236}">
                <a16:creationId xmlns:a16="http://schemas.microsoft.com/office/drawing/2014/main" id="{50DE3542-0992-4930-9939-79EC6E02AEC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a:latin typeface="Calibri" panose="020F0502020204030204" pitchFamily="34" charset="0"/>
              <a:ea typeface="+mj-ea"/>
              <a:cs typeface="+mj-cs"/>
              <a:sym typeface="Calibri" panose="020F0502020204030204" pitchFamily="34" charset="0"/>
            </a:endParaRPr>
          </a:p>
        </p:txBody>
      </p:sp>
      <p:sp>
        <p:nvSpPr>
          <p:cNvPr id="79" name="Marcador de número de diapositiva 4">
            <a:extLst>
              <a:ext uri="{FF2B5EF4-FFF2-40B4-BE49-F238E27FC236}">
                <a16:creationId xmlns:a16="http://schemas.microsoft.com/office/drawing/2014/main" id="{AD92101E-4051-4821-AF06-8E16888F76D5}"/>
              </a:ext>
            </a:extLst>
          </p:cNvPr>
          <p:cNvSpPr>
            <a:spLocks noGrp="1"/>
          </p:cNvSpPr>
          <p:nvPr>
            <p:ph type="sldNum" sz="quarter" idx="12"/>
          </p:nvPr>
        </p:nvSpPr>
        <p:spPr>
          <a:xfrm>
            <a:off x="6840503" y="6521356"/>
            <a:ext cx="2311400" cy="365125"/>
          </a:xfrm>
        </p:spPr>
        <p:txBody>
          <a:bodyPr/>
          <a:lstStyle/>
          <a:p>
            <a:fld id="{F72BFCD6-C37F-4D4F-B6AD-71D3A36D527F}" type="slidenum">
              <a:rPr lang="es-ES" smtClean="0">
                <a:solidFill>
                  <a:schemeClr val="tx2"/>
                </a:solidFill>
              </a:rPr>
              <a:pPr/>
              <a:t>8</a:t>
            </a:fld>
            <a:endParaRPr lang="es-ES">
              <a:solidFill>
                <a:schemeClr val="tx2"/>
              </a:solidFill>
            </a:endParaRPr>
          </a:p>
        </p:txBody>
      </p:sp>
      <p:pic>
        <p:nvPicPr>
          <p:cNvPr id="256" name="Imagen 255">
            <a:extLst>
              <a:ext uri="{FF2B5EF4-FFF2-40B4-BE49-F238E27FC236}">
                <a16:creationId xmlns:a16="http://schemas.microsoft.com/office/drawing/2014/main" id="{17332302-629E-49D0-9380-9BE9DD203D56}"/>
              </a:ext>
            </a:extLst>
          </p:cNvPr>
          <p:cNvPicPr>
            <a:picLocks noChangeAspect="1"/>
          </p:cNvPicPr>
          <p:nvPr/>
        </p:nvPicPr>
        <p:blipFill>
          <a:blip r:embed="rId8"/>
          <a:stretch>
            <a:fillRect/>
          </a:stretch>
        </p:blipFill>
        <p:spPr>
          <a:xfrm>
            <a:off x="-15873" y="-33835"/>
            <a:ext cx="9159873" cy="774424"/>
          </a:xfrm>
          <a:prstGeom prst="rect">
            <a:avLst/>
          </a:prstGeom>
        </p:spPr>
      </p:pic>
      <p:grpSp>
        <p:nvGrpSpPr>
          <p:cNvPr id="14" name="Grupo 13">
            <a:extLst>
              <a:ext uri="{FF2B5EF4-FFF2-40B4-BE49-F238E27FC236}">
                <a16:creationId xmlns:a16="http://schemas.microsoft.com/office/drawing/2014/main" id="{1053AF84-89B4-419E-A1AD-DBB5E9D8F229}"/>
              </a:ext>
            </a:extLst>
          </p:cNvPr>
          <p:cNvGrpSpPr/>
          <p:nvPr/>
        </p:nvGrpSpPr>
        <p:grpSpPr>
          <a:xfrm>
            <a:off x="279914" y="4655102"/>
            <a:ext cx="1859248" cy="2001974"/>
            <a:chOff x="7262472" y="3859773"/>
            <a:chExt cx="1859248" cy="2001974"/>
          </a:xfrm>
        </p:grpSpPr>
        <p:sp>
          <p:nvSpPr>
            <p:cNvPr id="842" name="Forma libre 841">
              <a:extLst>
                <a:ext uri="{FF2B5EF4-FFF2-40B4-BE49-F238E27FC236}">
                  <a16:creationId xmlns:a16="http://schemas.microsoft.com/office/drawing/2014/main" id="{9FE1F680-7AB0-E245-8AE3-627888C4BE38}"/>
                </a:ext>
              </a:extLst>
            </p:cNvPr>
            <p:cNvSpPr/>
            <p:nvPr/>
          </p:nvSpPr>
          <p:spPr>
            <a:xfrm>
              <a:off x="7262472" y="3952940"/>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43" name="Forma libre 842">
              <a:extLst>
                <a:ext uri="{FF2B5EF4-FFF2-40B4-BE49-F238E27FC236}">
                  <a16:creationId xmlns:a16="http://schemas.microsoft.com/office/drawing/2014/main" id="{3C3E477D-1E2F-624A-8F4E-854DBF9A17DD}"/>
                </a:ext>
              </a:extLst>
            </p:cNvPr>
            <p:cNvSpPr/>
            <p:nvPr/>
          </p:nvSpPr>
          <p:spPr>
            <a:xfrm>
              <a:off x="7335902" y="4026327"/>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bg1">
                <a:lumMod val="50000"/>
              </a:schemeClr>
            </a:solidFill>
            <a:ln w="3430" cap="flat">
              <a:noFill/>
              <a:prstDash val="solid"/>
              <a:miter/>
            </a:ln>
          </p:spPr>
          <p:txBody>
            <a:bodyPr rtlCol="0" anchor="ctr"/>
            <a:lstStyle/>
            <a:p>
              <a:endParaRPr lang="es-ES"/>
            </a:p>
          </p:txBody>
        </p:sp>
        <p:sp>
          <p:nvSpPr>
            <p:cNvPr id="845" name="Forma libre 844">
              <a:extLst>
                <a:ext uri="{FF2B5EF4-FFF2-40B4-BE49-F238E27FC236}">
                  <a16:creationId xmlns:a16="http://schemas.microsoft.com/office/drawing/2014/main" id="{28B79E6D-A9FA-4F44-8450-2EAB0DE9A23C}"/>
                </a:ext>
              </a:extLst>
            </p:cNvPr>
            <p:cNvSpPr/>
            <p:nvPr/>
          </p:nvSpPr>
          <p:spPr>
            <a:xfrm>
              <a:off x="7815448" y="3859773"/>
              <a:ext cx="1306272" cy="1951771"/>
            </a:xfrm>
            <a:custGeom>
              <a:avLst/>
              <a:gdLst>
                <a:gd name="connsiteX0" fmla="*/ 734900 w 1530265"/>
                <a:gd name="connsiteY0" fmla="*/ -290 h 2286450"/>
                <a:gd name="connsiteX1" fmla="*/ 1529598 w 1530265"/>
                <a:gd name="connsiteY1" fmla="*/ 1111399 h 2286450"/>
                <a:gd name="connsiteX2" fmla="*/ 354152 w 1530265"/>
                <a:gd name="connsiteY2" fmla="*/ 2286160 h 2286450"/>
                <a:gd name="connsiteX3" fmla="*/ -667 w 1530265"/>
                <a:gd name="connsiteY3" fmla="*/ 2231623 h 2286450"/>
              </a:gdLst>
              <a:ahLst/>
              <a:cxnLst>
                <a:cxn ang="0">
                  <a:pos x="connsiteX0" y="connsiteY0"/>
                </a:cxn>
                <a:cxn ang="0">
                  <a:pos x="connsiteX1" y="connsiteY1"/>
                </a:cxn>
                <a:cxn ang="0">
                  <a:pos x="connsiteX2" y="connsiteY2"/>
                </a:cxn>
                <a:cxn ang="0">
                  <a:pos x="connsiteX3" y="connsiteY3"/>
                </a:cxn>
              </a:cxnLst>
              <a:rect l="l" t="t" r="r" b="b"/>
              <a:pathLst>
                <a:path w="1530265" h="2286450">
                  <a:moveTo>
                    <a:pt x="734900" y="-290"/>
                  </a:moveTo>
                  <a:cubicBezTo>
                    <a:pt x="1197211" y="157803"/>
                    <a:pt x="1529598" y="595815"/>
                    <a:pt x="1529598" y="1111399"/>
                  </a:cubicBezTo>
                  <a:cubicBezTo>
                    <a:pt x="1529598" y="1760224"/>
                    <a:pt x="1003321" y="2286160"/>
                    <a:pt x="354152" y="2286160"/>
                  </a:cubicBezTo>
                  <a:cubicBezTo>
                    <a:pt x="233781" y="2286270"/>
                    <a:pt x="114110" y="2267876"/>
                    <a:pt x="-667" y="2231623"/>
                  </a:cubicBezTo>
                  <a:close/>
                </a:path>
              </a:pathLst>
            </a:custGeom>
            <a:solidFill>
              <a:srgbClr val="000000">
                <a:alpha val="10000"/>
              </a:srgbClr>
            </a:solidFill>
            <a:ln w="3430" cap="flat">
              <a:noFill/>
              <a:prstDash val="solid"/>
              <a:miter/>
            </a:ln>
          </p:spPr>
          <p:txBody>
            <a:bodyPr rtlCol="0" anchor="ctr"/>
            <a:lstStyle/>
            <a:p>
              <a:endParaRPr lang="es-ES"/>
            </a:p>
          </p:txBody>
        </p:sp>
        <p:sp>
          <p:nvSpPr>
            <p:cNvPr id="846" name="Rectángulo 845">
              <a:extLst>
                <a:ext uri="{FF2B5EF4-FFF2-40B4-BE49-F238E27FC236}">
                  <a16:creationId xmlns:a16="http://schemas.microsoft.com/office/drawing/2014/main" id="{85A10192-443C-8D42-AAEC-45E217E998F6}"/>
                </a:ext>
              </a:extLst>
            </p:cNvPr>
            <p:cNvSpPr/>
            <p:nvPr/>
          </p:nvSpPr>
          <p:spPr>
            <a:xfrm>
              <a:off x="7487629" y="4236968"/>
              <a:ext cx="1137186" cy="992451"/>
            </a:xfrm>
            <a:prstGeom prst="rect">
              <a:avLst/>
            </a:prstGeom>
          </p:spPr>
          <p:txBody>
            <a:bodyPr wrap="square">
              <a:spAutoFit/>
            </a:bodyPr>
            <a:lstStyle/>
            <a:p>
              <a:pPr>
                <a:lnSpc>
                  <a:spcPts val="1400"/>
                </a:lnSpc>
                <a:spcAft>
                  <a:spcPts val="600"/>
                </a:spcAft>
                <a:defRPr/>
              </a:pPr>
              <a:r>
                <a:rPr lang="es-ES" sz="1600" b="1">
                  <a:solidFill>
                    <a:schemeClr val="bg1"/>
                  </a:solidFill>
                </a:rPr>
                <a:t>Conseguir</a:t>
              </a:r>
              <a:r>
                <a:rPr lang="es-ES" sz="1200" b="1">
                  <a:solidFill>
                    <a:schemeClr val="bg1"/>
                  </a:solidFill>
                </a:rPr>
                <a:t> </a:t>
              </a:r>
              <a:r>
                <a:rPr lang="es-ES" sz="1400">
                  <a:solidFill>
                    <a:schemeClr val="bg1"/>
                  </a:solidFill>
                </a:rPr>
                <a:t>una mayor autonomía de los usuarios.</a:t>
              </a:r>
              <a:endParaRPr lang="es-ES" sz="1200">
                <a:solidFill>
                  <a:schemeClr val="bg1"/>
                </a:solidFill>
              </a:endParaRPr>
            </a:p>
          </p:txBody>
        </p:sp>
        <p:grpSp>
          <p:nvGrpSpPr>
            <p:cNvPr id="878" name="Grupo 877">
              <a:extLst>
                <a:ext uri="{FF2B5EF4-FFF2-40B4-BE49-F238E27FC236}">
                  <a16:creationId xmlns:a16="http://schemas.microsoft.com/office/drawing/2014/main" id="{D64FE79B-3696-B04D-8B01-3D6135492738}"/>
                </a:ext>
              </a:extLst>
            </p:cNvPr>
            <p:cNvGrpSpPr/>
            <p:nvPr/>
          </p:nvGrpSpPr>
          <p:grpSpPr>
            <a:xfrm>
              <a:off x="8353399" y="5213130"/>
              <a:ext cx="648995" cy="648617"/>
              <a:chOff x="2010682" y="4078481"/>
              <a:chExt cx="1712476" cy="1711479"/>
            </a:xfrm>
          </p:grpSpPr>
          <p:sp>
            <p:nvSpPr>
              <p:cNvPr id="879" name="Forma libre 878">
                <a:extLst>
                  <a:ext uri="{FF2B5EF4-FFF2-40B4-BE49-F238E27FC236}">
                    <a16:creationId xmlns:a16="http://schemas.microsoft.com/office/drawing/2014/main" id="{EB584042-FEAB-A149-A112-F7805F541D56}"/>
                  </a:ext>
                </a:extLst>
              </p:cNvPr>
              <p:cNvSpPr/>
              <p:nvPr/>
            </p:nvSpPr>
            <p:spPr>
              <a:xfrm>
                <a:off x="2010682" y="4078481"/>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80" name="Forma libre 879">
                <a:extLst>
                  <a:ext uri="{FF2B5EF4-FFF2-40B4-BE49-F238E27FC236}">
                    <a16:creationId xmlns:a16="http://schemas.microsoft.com/office/drawing/2014/main" id="{0C4251EA-A82C-664E-A2AF-44D0A079EA98}"/>
                  </a:ext>
                </a:extLst>
              </p:cNvPr>
              <p:cNvSpPr/>
              <p:nvPr/>
            </p:nvSpPr>
            <p:spPr>
              <a:xfrm>
                <a:off x="2084112" y="4151868"/>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bg1">
                  <a:lumMod val="50000"/>
                </a:schemeClr>
              </a:solidFill>
              <a:ln w="3430" cap="flat">
                <a:noFill/>
                <a:prstDash val="solid"/>
                <a:miter/>
              </a:ln>
            </p:spPr>
            <p:txBody>
              <a:bodyPr rtlCol="0" anchor="ctr"/>
              <a:lstStyle/>
              <a:p>
                <a:endParaRPr lang="es-ES"/>
              </a:p>
            </p:txBody>
          </p:sp>
        </p:grpSp>
        <p:pic>
          <p:nvPicPr>
            <p:cNvPr id="881" name="Gráfico 880">
              <a:extLst>
                <a:ext uri="{FF2B5EF4-FFF2-40B4-BE49-F238E27FC236}">
                  <a16:creationId xmlns:a16="http://schemas.microsoft.com/office/drawing/2014/main" id="{7F52C122-6070-2D41-8FA9-A8111235977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47584" y="5292923"/>
              <a:ext cx="457200" cy="457200"/>
            </a:xfrm>
            <a:prstGeom prst="rect">
              <a:avLst/>
            </a:prstGeom>
          </p:spPr>
        </p:pic>
      </p:grpSp>
      <p:grpSp>
        <p:nvGrpSpPr>
          <p:cNvPr id="4" name="Grupo 3">
            <a:extLst>
              <a:ext uri="{FF2B5EF4-FFF2-40B4-BE49-F238E27FC236}">
                <a16:creationId xmlns:a16="http://schemas.microsoft.com/office/drawing/2014/main" id="{BFFC96A0-7703-4FD2-8524-C960AC26D2E1}"/>
              </a:ext>
            </a:extLst>
          </p:cNvPr>
          <p:cNvGrpSpPr/>
          <p:nvPr/>
        </p:nvGrpSpPr>
        <p:grpSpPr>
          <a:xfrm>
            <a:off x="4096354" y="476523"/>
            <a:ext cx="1859248" cy="1990082"/>
            <a:chOff x="7237173" y="1720639"/>
            <a:chExt cx="1859248" cy="1990082"/>
          </a:xfrm>
        </p:grpSpPr>
        <p:sp>
          <p:nvSpPr>
            <p:cNvPr id="818" name="Forma libre 817">
              <a:extLst>
                <a:ext uri="{FF2B5EF4-FFF2-40B4-BE49-F238E27FC236}">
                  <a16:creationId xmlns:a16="http://schemas.microsoft.com/office/drawing/2014/main" id="{D6946D3E-4646-5A4E-9628-FD8B95E86016}"/>
                </a:ext>
              </a:extLst>
            </p:cNvPr>
            <p:cNvSpPr/>
            <p:nvPr/>
          </p:nvSpPr>
          <p:spPr>
            <a:xfrm>
              <a:off x="7237173" y="1813806"/>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19" name="Forma libre 818">
              <a:extLst>
                <a:ext uri="{FF2B5EF4-FFF2-40B4-BE49-F238E27FC236}">
                  <a16:creationId xmlns:a16="http://schemas.microsoft.com/office/drawing/2014/main" id="{0DF67F87-A77B-0343-8D84-1A23268B19C6}"/>
                </a:ext>
              </a:extLst>
            </p:cNvPr>
            <p:cNvSpPr/>
            <p:nvPr/>
          </p:nvSpPr>
          <p:spPr>
            <a:xfrm>
              <a:off x="7310603" y="1887193"/>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accent5">
                <a:lumMod val="60000"/>
                <a:lumOff val="40000"/>
              </a:schemeClr>
            </a:solidFill>
            <a:ln w="3430" cap="flat">
              <a:noFill/>
              <a:prstDash val="solid"/>
              <a:miter/>
            </a:ln>
          </p:spPr>
          <p:txBody>
            <a:bodyPr rtlCol="0" anchor="ctr"/>
            <a:lstStyle/>
            <a:p>
              <a:endParaRPr lang="es-ES"/>
            </a:p>
          </p:txBody>
        </p:sp>
        <p:sp>
          <p:nvSpPr>
            <p:cNvPr id="821" name="Forma libre 820">
              <a:extLst>
                <a:ext uri="{FF2B5EF4-FFF2-40B4-BE49-F238E27FC236}">
                  <a16:creationId xmlns:a16="http://schemas.microsoft.com/office/drawing/2014/main" id="{13D8A20A-3A3A-E34B-BFE3-2118FF2EBCCB}"/>
                </a:ext>
              </a:extLst>
            </p:cNvPr>
            <p:cNvSpPr/>
            <p:nvPr/>
          </p:nvSpPr>
          <p:spPr>
            <a:xfrm>
              <a:off x="7790149" y="1720639"/>
              <a:ext cx="1306272" cy="1951771"/>
            </a:xfrm>
            <a:custGeom>
              <a:avLst/>
              <a:gdLst>
                <a:gd name="connsiteX0" fmla="*/ 734900 w 1530265"/>
                <a:gd name="connsiteY0" fmla="*/ -290 h 2286450"/>
                <a:gd name="connsiteX1" fmla="*/ 1529598 w 1530265"/>
                <a:gd name="connsiteY1" fmla="*/ 1111399 h 2286450"/>
                <a:gd name="connsiteX2" fmla="*/ 354152 w 1530265"/>
                <a:gd name="connsiteY2" fmla="*/ 2286160 h 2286450"/>
                <a:gd name="connsiteX3" fmla="*/ -667 w 1530265"/>
                <a:gd name="connsiteY3" fmla="*/ 2231623 h 2286450"/>
              </a:gdLst>
              <a:ahLst/>
              <a:cxnLst>
                <a:cxn ang="0">
                  <a:pos x="connsiteX0" y="connsiteY0"/>
                </a:cxn>
                <a:cxn ang="0">
                  <a:pos x="connsiteX1" y="connsiteY1"/>
                </a:cxn>
                <a:cxn ang="0">
                  <a:pos x="connsiteX2" y="connsiteY2"/>
                </a:cxn>
                <a:cxn ang="0">
                  <a:pos x="connsiteX3" y="connsiteY3"/>
                </a:cxn>
              </a:cxnLst>
              <a:rect l="l" t="t" r="r" b="b"/>
              <a:pathLst>
                <a:path w="1530265" h="2286450">
                  <a:moveTo>
                    <a:pt x="734900" y="-290"/>
                  </a:moveTo>
                  <a:cubicBezTo>
                    <a:pt x="1197211" y="157803"/>
                    <a:pt x="1529598" y="595815"/>
                    <a:pt x="1529598" y="1111399"/>
                  </a:cubicBezTo>
                  <a:cubicBezTo>
                    <a:pt x="1529598" y="1760224"/>
                    <a:pt x="1003321" y="2286160"/>
                    <a:pt x="354152" y="2286160"/>
                  </a:cubicBezTo>
                  <a:cubicBezTo>
                    <a:pt x="233781" y="2286270"/>
                    <a:pt x="114110" y="2267876"/>
                    <a:pt x="-667" y="2231623"/>
                  </a:cubicBezTo>
                  <a:close/>
                </a:path>
              </a:pathLst>
            </a:custGeom>
            <a:solidFill>
              <a:srgbClr val="000000">
                <a:alpha val="10000"/>
              </a:srgbClr>
            </a:solidFill>
            <a:ln w="3430" cap="flat">
              <a:noFill/>
              <a:prstDash val="solid"/>
              <a:miter/>
            </a:ln>
          </p:spPr>
          <p:txBody>
            <a:bodyPr rtlCol="0" anchor="ctr"/>
            <a:lstStyle/>
            <a:p>
              <a:endParaRPr lang="es-ES"/>
            </a:p>
          </p:txBody>
        </p:sp>
        <p:sp>
          <p:nvSpPr>
            <p:cNvPr id="822" name="Rectángulo 821">
              <a:extLst>
                <a:ext uri="{FF2B5EF4-FFF2-40B4-BE49-F238E27FC236}">
                  <a16:creationId xmlns:a16="http://schemas.microsoft.com/office/drawing/2014/main" id="{79AC3AFB-D262-074A-B5FF-A7D64689A3F1}"/>
                </a:ext>
              </a:extLst>
            </p:cNvPr>
            <p:cNvSpPr/>
            <p:nvPr/>
          </p:nvSpPr>
          <p:spPr>
            <a:xfrm>
              <a:off x="7500749" y="1997942"/>
              <a:ext cx="1454217" cy="1171988"/>
            </a:xfrm>
            <a:prstGeom prst="rect">
              <a:avLst/>
            </a:prstGeom>
          </p:spPr>
          <p:txBody>
            <a:bodyPr wrap="square">
              <a:spAutoFit/>
            </a:bodyPr>
            <a:lstStyle/>
            <a:p>
              <a:pPr>
                <a:lnSpc>
                  <a:spcPts val="1400"/>
                </a:lnSpc>
                <a:spcAft>
                  <a:spcPts val="600"/>
                </a:spcAft>
                <a:defRPr/>
              </a:pPr>
              <a:r>
                <a:rPr lang="es-ES" sz="1600" b="1">
                  <a:solidFill>
                    <a:schemeClr val="bg1"/>
                  </a:solidFill>
                </a:rPr>
                <a:t>Construir</a:t>
              </a:r>
              <a:r>
                <a:rPr lang="es-ES" sz="1200" b="1">
                  <a:solidFill>
                    <a:schemeClr val="bg1"/>
                  </a:solidFill>
                </a:rPr>
                <a:t> </a:t>
              </a:r>
              <a:r>
                <a:rPr lang="es-ES" sz="1400">
                  <a:solidFill>
                    <a:schemeClr val="bg1"/>
                  </a:solidFill>
                </a:rPr>
                <a:t>puentes para superar la brecha digital y acceder a la sociedad de la información.</a:t>
              </a:r>
              <a:endParaRPr lang="es-ES" sz="1200">
                <a:solidFill>
                  <a:schemeClr val="bg1"/>
                </a:solidFill>
              </a:endParaRPr>
            </a:p>
          </p:txBody>
        </p:sp>
        <p:grpSp>
          <p:nvGrpSpPr>
            <p:cNvPr id="875" name="Grupo 874">
              <a:extLst>
                <a:ext uri="{FF2B5EF4-FFF2-40B4-BE49-F238E27FC236}">
                  <a16:creationId xmlns:a16="http://schemas.microsoft.com/office/drawing/2014/main" id="{40BC1602-5116-9C41-8B33-4D4F9C52A004}"/>
                </a:ext>
              </a:extLst>
            </p:cNvPr>
            <p:cNvGrpSpPr/>
            <p:nvPr/>
          </p:nvGrpSpPr>
          <p:grpSpPr>
            <a:xfrm>
              <a:off x="8317205" y="3062104"/>
              <a:ext cx="648995" cy="648617"/>
              <a:chOff x="2010682" y="4078481"/>
              <a:chExt cx="1712476" cy="1711479"/>
            </a:xfrm>
          </p:grpSpPr>
          <p:sp>
            <p:nvSpPr>
              <p:cNvPr id="876" name="Forma libre 875">
                <a:extLst>
                  <a:ext uri="{FF2B5EF4-FFF2-40B4-BE49-F238E27FC236}">
                    <a16:creationId xmlns:a16="http://schemas.microsoft.com/office/drawing/2014/main" id="{6222274E-A967-564A-B20E-6CE34EE2CFD5}"/>
                  </a:ext>
                </a:extLst>
              </p:cNvPr>
              <p:cNvSpPr/>
              <p:nvPr/>
            </p:nvSpPr>
            <p:spPr>
              <a:xfrm>
                <a:off x="2010682" y="4078481"/>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77" name="Forma libre 876">
                <a:extLst>
                  <a:ext uri="{FF2B5EF4-FFF2-40B4-BE49-F238E27FC236}">
                    <a16:creationId xmlns:a16="http://schemas.microsoft.com/office/drawing/2014/main" id="{32E4315F-3F60-D74B-8BE5-25C82A96DD97}"/>
                  </a:ext>
                </a:extLst>
              </p:cNvPr>
              <p:cNvSpPr/>
              <p:nvPr/>
            </p:nvSpPr>
            <p:spPr>
              <a:xfrm>
                <a:off x="2084112" y="4151868"/>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accent5">
                  <a:lumMod val="60000"/>
                  <a:lumOff val="40000"/>
                </a:schemeClr>
              </a:solidFill>
              <a:ln w="3430" cap="flat">
                <a:noFill/>
                <a:prstDash val="solid"/>
                <a:miter/>
              </a:ln>
            </p:spPr>
            <p:txBody>
              <a:bodyPr rtlCol="0" anchor="ctr"/>
              <a:lstStyle/>
              <a:p>
                <a:endParaRPr lang="es-ES"/>
              </a:p>
            </p:txBody>
          </p:sp>
        </p:grpSp>
        <p:pic>
          <p:nvPicPr>
            <p:cNvPr id="882" name="Gráfico 881">
              <a:extLst>
                <a:ext uri="{FF2B5EF4-FFF2-40B4-BE49-F238E27FC236}">
                  <a16:creationId xmlns:a16="http://schemas.microsoft.com/office/drawing/2014/main" id="{81638EBC-C41F-C940-8FA9-2DC37598FFB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19747" y="3120847"/>
              <a:ext cx="457200" cy="457200"/>
            </a:xfrm>
            <a:prstGeom prst="rect">
              <a:avLst/>
            </a:prstGeom>
          </p:spPr>
        </p:pic>
      </p:grpSp>
      <p:grpSp>
        <p:nvGrpSpPr>
          <p:cNvPr id="11" name="Grupo 10">
            <a:extLst>
              <a:ext uri="{FF2B5EF4-FFF2-40B4-BE49-F238E27FC236}">
                <a16:creationId xmlns:a16="http://schemas.microsoft.com/office/drawing/2014/main" id="{3FDE63D0-200B-4CCC-A06C-DF5C6A949D75}"/>
              </a:ext>
            </a:extLst>
          </p:cNvPr>
          <p:cNvGrpSpPr/>
          <p:nvPr/>
        </p:nvGrpSpPr>
        <p:grpSpPr>
          <a:xfrm>
            <a:off x="2041292" y="2573404"/>
            <a:ext cx="1859248" cy="1990082"/>
            <a:chOff x="3533630" y="1720639"/>
            <a:chExt cx="1859248" cy="1990082"/>
          </a:xfrm>
        </p:grpSpPr>
        <p:sp>
          <p:nvSpPr>
            <p:cNvPr id="794" name="Forma libre 793">
              <a:extLst>
                <a:ext uri="{FF2B5EF4-FFF2-40B4-BE49-F238E27FC236}">
                  <a16:creationId xmlns:a16="http://schemas.microsoft.com/office/drawing/2014/main" id="{7DFF690B-87A2-6844-99D5-6F086AF04BE3}"/>
                </a:ext>
              </a:extLst>
            </p:cNvPr>
            <p:cNvSpPr/>
            <p:nvPr/>
          </p:nvSpPr>
          <p:spPr>
            <a:xfrm>
              <a:off x="3533630" y="1813806"/>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795" name="Forma libre 794">
              <a:extLst>
                <a:ext uri="{FF2B5EF4-FFF2-40B4-BE49-F238E27FC236}">
                  <a16:creationId xmlns:a16="http://schemas.microsoft.com/office/drawing/2014/main" id="{BC923941-7F68-A643-8849-9B53F3F996A5}"/>
                </a:ext>
              </a:extLst>
            </p:cNvPr>
            <p:cNvSpPr/>
            <p:nvPr/>
          </p:nvSpPr>
          <p:spPr>
            <a:xfrm>
              <a:off x="3607060" y="1887193"/>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bg2">
                <a:lumMod val="90000"/>
              </a:schemeClr>
            </a:solidFill>
            <a:ln w="3430" cap="flat">
              <a:noFill/>
              <a:prstDash val="solid"/>
              <a:miter/>
            </a:ln>
          </p:spPr>
          <p:txBody>
            <a:bodyPr rtlCol="0" anchor="ctr"/>
            <a:lstStyle/>
            <a:p>
              <a:endParaRPr lang="es-ES"/>
            </a:p>
          </p:txBody>
        </p:sp>
        <p:sp>
          <p:nvSpPr>
            <p:cNvPr id="797" name="Forma libre 796">
              <a:extLst>
                <a:ext uri="{FF2B5EF4-FFF2-40B4-BE49-F238E27FC236}">
                  <a16:creationId xmlns:a16="http://schemas.microsoft.com/office/drawing/2014/main" id="{CA04C307-3E94-8447-8C82-4BA45A3A85B8}"/>
                </a:ext>
              </a:extLst>
            </p:cNvPr>
            <p:cNvSpPr/>
            <p:nvPr/>
          </p:nvSpPr>
          <p:spPr>
            <a:xfrm>
              <a:off x="4086606" y="1720639"/>
              <a:ext cx="1306272" cy="1951771"/>
            </a:xfrm>
            <a:custGeom>
              <a:avLst/>
              <a:gdLst>
                <a:gd name="connsiteX0" fmla="*/ 734900 w 1530265"/>
                <a:gd name="connsiteY0" fmla="*/ -290 h 2286450"/>
                <a:gd name="connsiteX1" fmla="*/ 1529598 w 1530265"/>
                <a:gd name="connsiteY1" fmla="*/ 1111399 h 2286450"/>
                <a:gd name="connsiteX2" fmla="*/ 354152 w 1530265"/>
                <a:gd name="connsiteY2" fmla="*/ 2286160 h 2286450"/>
                <a:gd name="connsiteX3" fmla="*/ -667 w 1530265"/>
                <a:gd name="connsiteY3" fmla="*/ 2231623 h 2286450"/>
              </a:gdLst>
              <a:ahLst/>
              <a:cxnLst>
                <a:cxn ang="0">
                  <a:pos x="connsiteX0" y="connsiteY0"/>
                </a:cxn>
                <a:cxn ang="0">
                  <a:pos x="connsiteX1" y="connsiteY1"/>
                </a:cxn>
                <a:cxn ang="0">
                  <a:pos x="connsiteX2" y="connsiteY2"/>
                </a:cxn>
                <a:cxn ang="0">
                  <a:pos x="connsiteX3" y="connsiteY3"/>
                </a:cxn>
              </a:cxnLst>
              <a:rect l="l" t="t" r="r" b="b"/>
              <a:pathLst>
                <a:path w="1530265" h="2286450">
                  <a:moveTo>
                    <a:pt x="734900" y="-290"/>
                  </a:moveTo>
                  <a:cubicBezTo>
                    <a:pt x="1197211" y="157803"/>
                    <a:pt x="1529598" y="595815"/>
                    <a:pt x="1529598" y="1111399"/>
                  </a:cubicBezTo>
                  <a:cubicBezTo>
                    <a:pt x="1529598" y="1760224"/>
                    <a:pt x="1003321" y="2286160"/>
                    <a:pt x="354152" y="2286160"/>
                  </a:cubicBezTo>
                  <a:cubicBezTo>
                    <a:pt x="233781" y="2286270"/>
                    <a:pt x="114110" y="2267876"/>
                    <a:pt x="-667" y="2231623"/>
                  </a:cubicBezTo>
                  <a:close/>
                </a:path>
              </a:pathLst>
            </a:custGeom>
            <a:solidFill>
              <a:srgbClr val="000000">
                <a:alpha val="10000"/>
              </a:srgbClr>
            </a:solidFill>
            <a:ln w="3430" cap="flat">
              <a:noFill/>
              <a:prstDash val="solid"/>
              <a:miter/>
            </a:ln>
          </p:spPr>
          <p:txBody>
            <a:bodyPr rtlCol="0" anchor="ctr"/>
            <a:lstStyle/>
            <a:p>
              <a:endParaRPr lang="es-ES"/>
            </a:p>
          </p:txBody>
        </p:sp>
        <p:sp>
          <p:nvSpPr>
            <p:cNvPr id="798" name="Rectángulo 797">
              <a:extLst>
                <a:ext uri="{FF2B5EF4-FFF2-40B4-BE49-F238E27FC236}">
                  <a16:creationId xmlns:a16="http://schemas.microsoft.com/office/drawing/2014/main" id="{93DFC2D6-47D4-8440-8BBC-5FEBED6F31D9}"/>
                </a:ext>
              </a:extLst>
            </p:cNvPr>
            <p:cNvSpPr/>
            <p:nvPr/>
          </p:nvSpPr>
          <p:spPr>
            <a:xfrm>
              <a:off x="3758787" y="2117289"/>
              <a:ext cx="1331148" cy="992451"/>
            </a:xfrm>
            <a:prstGeom prst="rect">
              <a:avLst/>
            </a:prstGeom>
          </p:spPr>
          <p:txBody>
            <a:bodyPr wrap="square">
              <a:spAutoFit/>
            </a:bodyPr>
            <a:lstStyle/>
            <a:p>
              <a:pPr>
                <a:lnSpc>
                  <a:spcPts val="1400"/>
                </a:lnSpc>
                <a:spcAft>
                  <a:spcPts val="600"/>
                </a:spcAft>
                <a:defRPr/>
              </a:pPr>
              <a:r>
                <a:rPr lang="es-ES" sz="1600" b="1"/>
                <a:t>Fomentar</a:t>
              </a:r>
              <a:r>
                <a:rPr lang="es-ES" sz="1200" b="1"/>
                <a:t> </a:t>
              </a:r>
              <a:r>
                <a:rPr lang="es-ES" sz="1400"/>
                <a:t>el trabajo colaborativo y el intercambio de información.</a:t>
              </a:r>
              <a:endParaRPr lang="es-ES" sz="1200"/>
            </a:p>
          </p:txBody>
        </p:sp>
        <p:grpSp>
          <p:nvGrpSpPr>
            <p:cNvPr id="869" name="Grupo 868">
              <a:extLst>
                <a:ext uri="{FF2B5EF4-FFF2-40B4-BE49-F238E27FC236}">
                  <a16:creationId xmlns:a16="http://schemas.microsoft.com/office/drawing/2014/main" id="{698A9E88-582F-954C-9824-1ACEDD13542D}"/>
                </a:ext>
              </a:extLst>
            </p:cNvPr>
            <p:cNvGrpSpPr/>
            <p:nvPr/>
          </p:nvGrpSpPr>
          <p:grpSpPr>
            <a:xfrm>
              <a:off x="4526636" y="3062104"/>
              <a:ext cx="648995" cy="648617"/>
              <a:chOff x="2010682" y="4078481"/>
              <a:chExt cx="1712476" cy="1711479"/>
            </a:xfrm>
          </p:grpSpPr>
          <p:sp>
            <p:nvSpPr>
              <p:cNvPr id="870" name="Forma libre 869">
                <a:extLst>
                  <a:ext uri="{FF2B5EF4-FFF2-40B4-BE49-F238E27FC236}">
                    <a16:creationId xmlns:a16="http://schemas.microsoft.com/office/drawing/2014/main" id="{33788EBE-3294-584A-BA14-B8FA8364BB66}"/>
                  </a:ext>
                </a:extLst>
              </p:cNvPr>
              <p:cNvSpPr/>
              <p:nvPr/>
            </p:nvSpPr>
            <p:spPr>
              <a:xfrm>
                <a:off x="2010682" y="4078481"/>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71" name="Forma libre 870">
                <a:extLst>
                  <a:ext uri="{FF2B5EF4-FFF2-40B4-BE49-F238E27FC236}">
                    <a16:creationId xmlns:a16="http://schemas.microsoft.com/office/drawing/2014/main" id="{3789C0D6-C702-0746-ABF4-AD655F55A91A}"/>
                  </a:ext>
                </a:extLst>
              </p:cNvPr>
              <p:cNvSpPr/>
              <p:nvPr/>
            </p:nvSpPr>
            <p:spPr>
              <a:xfrm>
                <a:off x="2084112" y="4151868"/>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bg2">
                  <a:lumMod val="90000"/>
                </a:schemeClr>
              </a:solidFill>
              <a:ln w="3430" cap="flat">
                <a:noFill/>
                <a:prstDash val="solid"/>
                <a:miter/>
              </a:ln>
            </p:spPr>
            <p:txBody>
              <a:bodyPr rtlCol="0" anchor="ctr"/>
              <a:lstStyle/>
              <a:p>
                <a:endParaRPr lang="es-ES"/>
              </a:p>
            </p:txBody>
          </p:sp>
        </p:grpSp>
        <p:pic>
          <p:nvPicPr>
            <p:cNvPr id="883" name="Gráfico 882">
              <a:extLst>
                <a:ext uri="{FF2B5EF4-FFF2-40B4-BE49-F238E27FC236}">
                  <a16:creationId xmlns:a16="http://schemas.microsoft.com/office/drawing/2014/main" id="{CAE9B1C6-E2CB-2C4F-BADB-F6F111584CB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584627" y="3258869"/>
              <a:ext cx="532795" cy="304455"/>
            </a:xfrm>
            <a:prstGeom prst="rect">
              <a:avLst/>
            </a:prstGeom>
          </p:spPr>
        </p:pic>
      </p:grpSp>
      <p:grpSp>
        <p:nvGrpSpPr>
          <p:cNvPr id="12" name="Grupo 11">
            <a:extLst>
              <a:ext uri="{FF2B5EF4-FFF2-40B4-BE49-F238E27FC236}">
                <a16:creationId xmlns:a16="http://schemas.microsoft.com/office/drawing/2014/main" id="{C7DE3FF3-5FE8-44D8-B1A9-67216D7EDD68}"/>
              </a:ext>
            </a:extLst>
          </p:cNvPr>
          <p:cNvGrpSpPr/>
          <p:nvPr/>
        </p:nvGrpSpPr>
        <p:grpSpPr>
          <a:xfrm>
            <a:off x="29685" y="559221"/>
            <a:ext cx="1977926" cy="1951771"/>
            <a:chOff x="17420" y="2716962"/>
            <a:chExt cx="1977926" cy="1951771"/>
          </a:xfrm>
        </p:grpSpPr>
        <p:sp>
          <p:nvSpPr>
            <p:cNvPr id="800" name="Forma libre 799">
              <a:extLst>
                <a:ext uri="{FF2B5EF4-FFF2-40B4-BE49-F238E27FC236}">
                  <a16:creationId xmlns:a16="http://schemas.microsoft.com/office/drawing/2014/main" id="{60051A07-62B8-C541-9E56-CF058362C5D4}"/>
                </a:ext>
              </a:extLst>
            </p:cNvPr>
            <p:cNvSpPr/>
            <p:nvPr/>
          </p:nvSpPr>
          <p:spPr>
            <a:xfrm>
              <a:off x="17420" y="2810129"/>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01" name="Forma libre 800">
              <a:extLst>
                <a:ext uri="{FF2B5EF4-FFF2-40B4-BE49-F238E27FC236}">
                  <a16:creationId xmlns:a16="http://schemas.microsoft.com/office/drawing/2014/main" id="{9A89FE26-0A9B-1A4F-953E-35BB1CE4529D}"/>
                </a:ext>
              </a:extLst>
            </p:cNvPr>
            <p:cNvSpPr/>
            <p:nvPr/>
          </p:nvSpPr>
          <p:spPr>
            <a:xfrm>
              <a:off x="90850" y="2883516"/>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accent1"/>
            </a:solidFill>
            <a:ln w="3430" cap="flat">
              <a:noFill/>
              <a:prstDash val="solid"/>
              <a:miter/>
            </a:ln>
          </p:spPr>
          <p:txBody>
            <a:bodyPr rtlCol="0" anchor="ctr"/>
            <a:lstStyle/>
            <a:p>
              <a:endParaRPr lang="es-ES"/>
            </a:p>
          </p:txBody>
        </p:sp>
        <p:sp>
          <p:nvSpPr>
            <p:cNvPr id="803" name="Forma libre 802">
              <a:extLst>
                <a:ext uri="{FF2B5EF4-FFF2-40B4-BE49-F238E27FC236}">
                  <a16:creationId xmlns:a16="http://schemas.microsoft.com/office/drawing/2014/main" id="{8B549E96-F033-704C-AEAF-6A3F03620E4F}"/>
                </a:ext>
              </a:extLst>
            </p:cNvPr>
            <p:cNvSpPr/>
            <p:nvPr/>
          </p:nvSpPr>
          <p:spPr>
            <a:xfrm>
              <a:off x="570396" y="2716962"/>
              <a:ext cx="1306272" cy="1951771"/>
            </a:xfrm>
            <a:custGeom>
              <a:avLst/>
              <a:gdLst>
                <a:gd name="connsiteX0" fmla="*/ 734900 w 1530265"/>
                <a:gd name="connsiteY0" fmla="*/ -290 h 2286450"/>
                <a:gd name="connsiteX1" fmla="*/ 1529598 w 1530265"/>
                <a:gd name="connsiteY1" fmla="*/ 1111399 h 2286450"/>
                <a:gd name="connsiteX2" fmla="*/ 354152 w 1530265"/>
                <a:gd name="connsiteY2" fmla="*/ 2286160 h 2286450"/>
                <a:gd name="connsiteX3" fmla="*/ -667 w 1530265"/>
                <a:gd name="connsiteY3" fmla="*/ 2231623 h 2286450"/>
              </a:gdLst>
              <a:ahLst/>
              <a:cxnLst>
                <a:cxn ang="0">
                  <a:pos x="connsiteX0" y="connsiteY0"/>
                </a:cxn>
                <a:cxn ang="0">
                  <a:pos x="connsiteX1" y="connsiteY1"/>
                </a:cxn>
                <a:cxn ang="0">
                  <a:pos x="connsiteX2" y="connsiteY2"/>
                </a:cxn>
                <a:cxn ang="0">
                  <a:pos x="connsiteX3" y="connsiteY3"/>
                </a:cxn>
              </a:cxnLst>
              <a:rect l="l" t="t" r="r" b="b"/>
              <a:pathLst>
                <a:path w="1530265" h="2286450">
                  <a:moveTo>
                    <a:pt x="734900" y="-290"/>
                  </a:moveTo>
                  <a:cubicBezTo>
                    <a:pt x="1197211" y="157803"/>
                    <a:pt x="1529598" y="595815"/>
                    <a:pt x="1529598" y="1111399"/>
                  </a:cubicBezTo>
                  <a:cubicBezTo>
                    <a:pt x="1529598" y="1760224"/>
                    <a:pt x="1003321" y="2286160"/>
                    <a:pt x="354152" y="2286160"/>
                  </a:cubicBezTo>
                  <a:cubicBezTo>
                    <a:pt x="233781" y="2286270"/>
                    <a:pt x="114110" y="2267876"/>
                    <a:pt x="-667" y="2231623"/>
                  </a:cubicBezTo>
                  <a:close/>
                </a:path>
              </a:pathLst>
            </a:custGeom>
            <a:solidFill>
              <a:srgbClr val="000000">
                <a:alpha val="10000"/>
              </a:srgbClr>
            </a:solidFill>
            <a:ln w="3430" cap="flat">
              <a:noFill/>
              <a:prstDash val="solid"/>
              <a:miter/>
            </a:ln>
          </p:spPr>
          <p:txBody>
            <a:bodyPr rtlCol="0" anchor="ctr"/>
            <a:lstStyle/>
            <a:p>
              <a:endParaRPr lang="es-ES"/>
            </a:p>
          </p:txBody>
        </p:sp>
        <p:sp>
          <p:nvSpPr>
            <p:cNvPr id="804" name="Rectángulo 803">
              <a:extLst>
                <a:ext uri="{FF2B5EF4-FFF2-40B4-BE49-F238E27FC236}">
                  <a16:creationId xmlns:a16="http://schemas.microsoft.com/office/drawing/2014/main" id="{3DF42119-3762-EF4F-80A5-7EB7FEC948BD}"/>
                </a:ext>
              </a:extLst>
            </p:cNvPr>
            <p:cNvSpPr/>
            <p:nvPr/>
          </p:nvSpPr>
          <p:spPr>
            <a:xfrm>
              <a:off x="242577" y="3094157"/>
              <a:ext cx="1260668" cy="633443"/>
            </a:xfrm>
            <a:prstGeom prst="rect">
              <a:avLst/>
            </a:prstGeom>
          </p:spPr>
          <p:txBody>
            <a:bodyPr wrap="square">
              <a:spAutoFit/>
            </a:bodyPr>
            <a:lstStyle/>
            <a:p>
              <a:pPr>
                <a:lnSpc>
                  <a:spcPts val="1400"/>
                </a:lnSpc>
                <a:spcAft>
                  <a:spcPts val="600"/>
                </a:spcAft>
                <a:defRPr/>
              </a:pPr>
              <a:r>
                <a:rPr lang="es-ES" sz="1600" b="1"/>
                <a:t>Conciliar </a:t>
              </a:r>
              <a:r>
                <a:rPr lang="es-ES" sz="1400"/>
                <a:t>la vida familiar y profesional.</a:t>
              </a:r>
            </a:p>
          </p:txBody>
        </p:sp>
        <p:grpSp>
          <p:nvGrpSpPr>
            <p:cNvPr id="860" name="Grupo 859">
              <a:extLst>
                <a:ext uri="{FF2B5EF4-FFF2-40B4-BE49-F238E27FC236}">
                  <a16:creationId xmlns:a16="http://schemas.microsoft.com/office/drawing/2014/main" id="{FC869FDE-E322-BB4E-9099-0B6B905A1E50}"/>
                </a:ext>
              </a:extLst>
            </p:cNvPr>
            <p:cNvGrpSpPr/>
            <p:nvPr/>
          </p:nvGrpSpPr>
          <p:grpSpPr>
            <a:xfrm>
              <a:off x="1346351" y="3581565"/>
              <a:ext cx="648995" cy="648617"/>
              <a:chOff x="2010682" y="4078481"/>
              <a:chExt cx="1712476" cy="1711479"/>
            </a:xfrm>
          </p:grpSpPr>
          <p:sp>
            <p:nvSpPr>
              <p:cNvPr id="861" name="Forma libre 860">
                <a:extLst>
                  <a:ext uri="{FF2B5EF4-FFF2-40B4-BE49-F238E27FC236}">
                    <a16:creationId xmlns:a16="http://schemas.microsoft.com/office/drawing/2014/main" id="{0E049D11-5C4A-4D4B-BD04-5571994E51FB}"/>
                  </a:ext>
                </a:extLst>
              </p:cNvPr>
              <p:cNvSpPr/>
              <p:nvPr/>
            </p:nvSpPr>
            <p:spPr>
              <a:xfrm>
                <a:off x="2010682" y="4078481"/>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62" name="Forma libre 861">
                <a:extLst>
                  <a:ext uri="{FF2B5EF4-FFF2-40B4-BE49-F238E27FC236}">
                    <a16:creationId xmlns:a16="http://schemas.microsoft.com/office/drawing/2014/main" id="{C669B0E2-CFA1-B245-804E-91B0EBDBC0F1}"/>
                  </a:ext>
                </a:extLst>
              </p:cNvPr>
              <p:cNvSpPr/>
              <p:nvPr/>
            </p:nvSpPr>
            <p:spPr>
              <a:xfrm>
                <a:off x="2084112" y="4151868"/>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accent1"/>
              </a:solidFill>
              <a:ln w="3430" cap="flat">
                <a:noFill/>
                <a:prstDash val="solid"/>
                <a:miter/>
              </a:ln>
            </p:spPr>
            <p:txBody>
              <a:bodyPr rtlCol="0" anchor="ctr"/>
              <a:lstStyle/>
              <a:p>
                <a:endParaRPr lang="es-ES"/>
              </a:p>
            </p:txBody>
          </p:sp>
        </p:grpSp>
        <p:pic>
          <p:nvPicPr>
            <p:cNvPr id="884" name="Gráfico 883">
              <a:extLst>
                <a:ext uri="{FF2B5EF4-FFF2-40B4-BE49-F238E27FC236}">
                  <a16:creationId xmlns:a16="http://schemas.microsoft.com/office/drawing/2014/main" id="{D5DA767C-B222-D747-94B1-7FED1C42897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511153" y="3656794"/>
              <a:ext cx="336894" cy="471651"/>
            </a:xfrm>
            <a:prstGeom prst="rect">
              <a:avLst/>
            </a:prstGeom>
          </p:spPr>
        </p:pic>
      </p:grpSp>
      <p:grpSp>
        <p:nvGrpSpPr>
          <p:cNvPr id="2" name="Grupo 1">
            <a:extLst>
              <a:ext uri="{FF2B5EF4-FFF2-40B4-BE49-F238E27FC236}">
                <a16:creationId xmlns:a16="http://schemas.microsoft.com/office/drawing/2014/main" id="{A653AAA6-75D0-4E9C-86F7-ED6D57280D53}"/>
              </a:ext>
            </a:extLst>
          </p:cNvPr>
          <p:cNvGrpSpPr/>
          <p:nvPr/>
        </p:nvGrpSpPr>
        <p:grpSpPr>
          <a:xfrm>
            <a:off x="2089311" y="539948"/>
            <a:ext cx="1908662" cy="1951771"/>
            <a:chOff x="17420" y="695540"/>
            <a:chExt cx="1908662" cy="1951771"/>
          </a:xfrm>
        </p:grpSpPr>
        <p:sp>
          <p:nvSpPr>
            <p:cNvPr id="5" name="Forma libre 4">
              <a:extLst>
                <a:ext uri="{FF2B5EF4-FFF2-40B4-BE49-F238E27FC236}">
                  <a16:creationId xmlns:a16="http://schemas.microsoft.com/office/drawing/2014/main" id="{4172DDBB-87C6-4C43-8A8B-249631318F46}"/>
                </a:ext>
              </a:extLst>
            </p:cNvPr>
            <p:cNvSpPr/>
            <p:nvPr/>
          </p:nvSpPr>
          <p:spPr>
            <a:xfrm>
              <a:off x="17420" y="788707"/>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 name="Forma libre 7">
              <a:extLst>
                <a:ext uri="{FF2B5EF4-FFF2-40B4-BE49-F238E27FC236}">
                  <a16:creationId xmlns:a16="http://schemas.microsoft.com/office/drawing/2014/main" id="{501B8102-D391-6E4E-8723-017451A6DE66}"/>
                </a:ext>
              </a:extLst>
            </p:cNvPr>
            <p:cNvSpPr/>
            <p:nvPr/>
          </p:nvSpPr>
          <p:spPr>
            <a:xfrm>
              <a:off x="90850" y="862094"/>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accent3"/>
            </a:solidFill>
            <a:ln w="3430" cap="flat">
              <a:noFill/>
              <a:prstDash val="solid"/>
              <a:miter/>
            </a:ln>
          </p:spPr>
          <p:txBody>
            <a:bodyPr rtlCol="0" anchor="ctr"/>
            <a:lstStyle/>
            <a:p>
              <a:endParaRPr lang="es-ES"/>
            </a:p>
          </p:txBody>
        </p:sp>
        <p:sp>
          <p:nvSpPr>
            <p:cNvPr id="10" name="Forma libre 9">
              <a:extLst>
                <a:ext uri="{FF2B5EF4-FFF2-40B4-BE49-F238E27FC236}">
                  <a16:creationId xmlns:a16="http://schemas.microsoft.com/office/drawing/2014/main" id="{D915127A-138A-BB40-ABC7-CEED17713D49}"/>
                </a:ext>
              </a:extLst>
            </p:cNvPr>
            <p:cNvSpPr/>
            <p:nvPr/>
          </p:nvSpPr>
          <p:spPr>
            <a:xfrm>
              <a:off x="570396" y="695540"/>
              <a:ext cx="1306272" cy="1951771"/>
            </a:xfrm>
            <a:custGeom>
              <a:avLst/>
              <a:gdLst>
                <a:gd name="connsiteX0" fmla="*/ 734900 w 1530265"/>
                <a:gd name="connsiteY0" fmla="*/ -290 h 2286450"/>
                <a:gd name="connsiteX1" fmla="*/ 1529598 w 1530265"/>
                <a:gd name="connsiteY1" fmla="*/ 1111399 h 2286450"/>
                <a:gd name="connsiteX2" fmla="*/ 354152 w 1530265"/>
                <a:gd name="connsiteY2" fmla="*/ 2286160 h 2286450"/>
                <a:gd name="connsiteX3" fmla="*/ -667 w 1530265"/>
                <a:gd name="connsiteY3" fmla="*/ 2231623 h 2286450"/>
              </a:gdLst>
              <a:ahLst/>
              <a:cxnLst>
                <a:cxn ang="0">
                  <a:pos x="connsiteX0" y="connsiteY0"/>
                </a:cxn>
                <a:cxn ang="0">
                  <a:pos x="connsiteX1" y="connsiteY1"/>
                </a:cxn>
                <a:cxn ang="0">
                  <a:pos x="connsiteX2" y="connsiteY2"/>
                </a:cxn>
                <a:cxn ang="0">
                  <a:pos x="connsiteX3" y="connsiteY3"/>
                </a:cxn>
              </a:cxnLst>
              <a:rect l="l" t="t" r="r" b="b"/>
              <a:pathLst>
                <a:path w="1530265" h="2286450">
                  <a:moveTo>
                    <a:pt x="734900" y="-290"/>
                  </a:moveTo>
                  <a:cubicBezTo>
                    <a:pt x="1197211" y="157803"/>
                    <a:pt x="1529598" y="595815"/>
                    <a:pt x="1529598" y="1111399"/>
                  </a:cubicBezTo>
                  <a:cubicBezTo>
                    <a:pt x="1529598" y="1760224"/>
                    <a:pt x="1003321" y="2286160"/>
                    <a:pt x="354152" y="2286160"/>
                  </a:cubicBezTo>
                  <a:cubicBezTo>
                    <a:pt x="233781" y="2286270"/>
                    <a:pt x="114110" y="2267876"/>
                    <a:pt x="-667" y="2231623"/>
                  </a:cubicBezTo>
                  <a:close/>
                </a:path>
              </a:pathLst>
            </a:custGeom>
            <a:solidFill>
              <a:srgbClr val="000000">
                <a:alpha val="10000"/>
              </a:srgbClr>
            </a:solidFill>
            <a:ln w="3430" cap="flat">
              <a:noFill/>
              <a:prstDash val="solid"/>
              <a:miter/>
            </a:ln>
          </p:spPr>
          <p:txBody>
            <a:bodyPr rtlCol="0" anchor="ctr"/>
            <a:lstStyle/>
            <a:p>
              <a:endParaRPr lang="es-ES"/>
            </a:p>
          </p:txBody>
        </p:sp>
        <p:sp>
          <p:nvSpPr>
            <p:cNvPr id="785" name="Rectángulo 784">
              <a:extLst>
                <a:ext uri="{FF2B5EF4-FFF2-40B4-BE49-F238E27FC236}">
                  <a16:creationId xmlns:a16="http://schemas.microsoft.com/office/drawing/2014/main" id="{308D7FD0-B26D-ED4C-8875-7A7A2AF2CEDF}"/>
                </a:ext>
              </a:extLst>
            </p:cNvPr>
            <p:cNvSpPr/>
            <p:nvPr/>
          </p:nvSpPr>
          <p:spPr>
            <a:xfrm>
              <a:off x="244103" y="1020739"/>
              <a:ext cx="1510745" cy="1332352"/>
            </a:xfrm>
            <a:prstGeom prst="rect">
              <a:avLst/>
            </a:prstGeom>
          </p:spPr>
          <p:txBody>
            <a:bodyPr wrap="square">
              <a:spAutoFit/>
            </a:bodyPr>
            <a:lstStyle/>
            <a:p>
              <a:pPr>
                <a:lnSpc>
                  <a:spcPts val="1200"/>
                </a:lnSpc>
                <a:spcAft>
                  <a:spcPts val="600"/>
                </a:spcAft>
                <a:defRPr/>
              </a:pPr>
              <a:r>
                <a:rPr lang="es-ES" sz="1600" b="1">
                  <a:solidFill>
                    <a:schemeClr val="bg1"/>
                  </a:solidFill>
                </a:rPr>
                <a:t>Eliminar</a:t>
              </a:r>
              <a:r>
                <a:rPr lang="es-ES" sz="1200" b="1">
                  <a:solidFill>
                    <a:schemeClr val="bg1"/>
                  </a:solidFill>
                </a:rPr>
                <a:t> </a:t>
              </a:r>
              <a:r>
                <a:rPr lang="es-ES" sz="1400">
                  <a:solidFill>
                    <a:schemeClr val="bg1"/>
                  </a:solidFill>
                </a:rPr>
                <a:t>la dependencia física de las vistas permitiendo asistir a los ciudadanos con movilidad reducida</a:t>
              </a:r>
              <a:endParaRPr lang="es-ES" sz="1200">
                <a:solidFill>
                  <a:schemeClr val="bg1"/>
                </a:solidFill>
              </a:endParaRPr>
            </a:p>
          </p:txBody>
        </p:sp>
        <p:grpSp>
          <p:nvGrpSpPr>
            <p:cNvPr id="863" name="Grupo 862">
              <a:extLst>
                <a:ext uri="{FF2B5EF4-FFF2-40B4-BE49-F238E27FC236}">
                  <a16:creationId xmlns:a16="http://schemas.microsoft.com/office/drawing/2014/main" id="{3A2844B6-B529-0E4D-9C77-AD0A2EA53D96}"/>
                </a:ext>
              </a:extLst>
            </p:cNvPr>
            <p:cNvGrpSpPr/>
            <p:nvPr/>
          </p:nvGrpSpPr>
          <p:grpSpPr>
            <a:xfrm>
              <a:off x="1277087" y="1979695"/>
              <a:ext cx="648995" cy="648617"/>
              <a:chOff x="2010682" y="4078481"/>
              <a:chExt cx="1712476" cy="1711479"/>
            </a:xfrm>
          </p:grpSpPr>
          <p:sp>
            <p:nvSpPr>
              <p:cNvPr id="864" name="Forma libre 863">
                <a:extLst>
                  <a:ext uri="{FF2B5EF4-FFF2-40B4-BE49-F238E27FC236}">
                    <a16:creationId xmlns:a16="http://schemas.microsoft.com/office/drawing/2014/main" id="{80DB039C-F610-3B4B-87FC-6E7F68EBE4A6}"/>
                  </a:ext>
                </a:extLst>
              </p:cNvPr>
              <p:cNvSpPr/>
              <p:nvPr/>
            </p:nvSpPr>
            <p:spPr>
              <a:xfrm>
                <a:off x="2010682" y="4078481"/>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65" name="Forma libre 864">
                <a:extLst>
                  <a:ext uri="{FF2B5EF4-FFF2-40B4-BE49-F238E27FC236}">
                    <a16:creationId xmlns:a16="http://schemas.microsoft.com/office/drawing/2014/main" id="{8A9A9E8A-72D3-B242-8278-0A1DF1944815}"/>
                  </a:ext>
                </a:extLst>
              </p:cNvPr>
              <p:cNvSpPr/>
              <p:nvPr/>
            </p:nvSpPr>
            <p:spPr>
              <a:xfrm>
                <a:off x="2084112" y="4151868"/>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accent3"/>
              </a:solidFill>
              <a:ln w="3430" cap="flat">
                <a:noFill/>
                <a:prstDash val="solid"/>
                <a:miter/>
              </a:ln>
            </p:spPr>
            <p:txBody>
              <a:bodyPr rtlCol="0" anchor="ctr"/>
              <a:lstStyle/>
              <a:p>
                <a:endParaRPr lang="es-ES"/>
              </a:p>
            </p:txBody>
          </p:sp>
        </p:grpSp>
        <p:pic>
          <p:nvPicPr>
            <p:cNvPr id="887" name="Gráfico 886">
              <a:extLst>
                <a:ext uri="{FF2B5EF4-FFF2-40B4-BE49-F238E27FC236}">
                  <a16:creationId xmlns:a16="http://schemas.microsoft.com/office/drawing/2014/main" id="{C3F68488-13DF-3A46-A886-DFB4F284AA9D}"/>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425939" y="2060536"/>
              <a:ext cx="344724" cy="482614"/>
            </a:xfrm>
            <a:prstGeom prst="rect">
              <a:avLst/>
            </a:prstGeom>
          </p:spPr>
        </p:pic>
      </p:grpSp>
      <p:grpSp>
        <p:nvGrpSpPr>
          <p:cNvPr id="17" name="Grupo 16">
            <a:extLst>
              <a:ext uri="{FF2B5EF4-FFF2-40B4-BE49-F238E27FC236}">
                <a16:creationId xmlns:a16="http://schemas.microsoft.com/office/drawing/2014/main" id="{B52F5E80-BF97-4597-BD1F-572CED1ED823}"/>
              </a:ext>
            </a:extLst>
          </p:cNvPr>
          <p:cNvGrpSpPr/>
          <p:nvPr/>
        </p:nvGrpSpPr>
        <p:grpSpPr>
          <a:xfrm>
            <a:off x="4031679" y="2661765"/>
            <a:ext cx="1859248" cy="2028833"/>
            <a:chOff x="1663730" y="3832914"/>
            <a:chExt cx="1859248" cy="2028833"/>
          </a:xfrm>
        </p:grpSpPr>
        <p:sp>
          <p:nvSpPr>
            <p:cNvPr id="824" name="Forma libre 823">
              <a:extLst>
                <a:ext uri="{FF2B5EF4-FFF2-40B4-BE49-F238E27FC236}">
                  <a16:creationId xmlns:a16="http://schemas.microsoft.com/office/drawing/2014/main" id="{23E14392-51F5-EF46-9271-F54FAB591383}"/>
                </a:ext>
              </a:extLst>
            </p:cNvPr>
            <p:cNvSpPr/>
            <p:nvPr/>
          </p:nvSpPr>
          <p:spPr>
            <a:xfrm>
              <a:off x="1663730" y="3926081"/>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25" name="Forma libre 824">
              <a:extLst>
                <a:ext uri="{FF2B5EF4-FFF2-40B4-BE49-F238E27FC236}">
                  <a16:creationId xmlns:a16="http://schemas.microsoft.com/office/drawing/2014/main" id="{3E72E3DF-A06F-2442-A722-966400057441}"/>
                </a:ext>
              </a:extLst>
            </p:cNvPr>
            <p:cNvSpPr/>
            <p:nvPr/>
          </p:nvSpPr>
          <p:spPr>
            <a:xfrm>
              <a:off x="1737160" y="3999468"/>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tx2"/>
            </a:solidFill>
            <a:ln w="3430" cap="flat">
              <a:noFill/>
              <a:prstDash val="solid"/>
              <a:miter/>
            </a:ln>
          </p:spPr>
          <p:txBody>
            <a:bodyPr rtlCol="0" anchor="ctr"/>
            <a:lstStyle/>
            <a:p>
              <a:endParaRPr lang="es-ES"/>
            </a:p>
          </p:txBody>
        </p:sp>
        <p:sp>
          <p:nvSpPr>
            <p:cNvPr id="827" name="Forma libre 826">
              <a:extLst>
                <a:ext uri="{FF2B5EF4-FFF2-40B4-BE49-F238E27FC236}">
                  <a16:creationId xmlns:a16="http://schemas.microsoft.com/office/drawing/2014/main" id="{658BE85D-4725-DC44-9C60-FEB1702987DD}"/>
                </a:ext>
              </a:extLst>
            </p:cNvPr>
            <p:cNvSpPr/>
            <p:nvPr/>
          </p:nvSpPr>
          <p:spPr>
            <a:xfrm>
              <a:off x="2216706" y="3832914"/>
              <a:ext cx="1306272" cy="1951771"/>
            </a:xfrm>
            <a:custGeom>
              <a:avLst/>
              <a:gdLst>
                <a:gd name="connsiteX0" fmla="*/ 734900 w 1530265"/>
                <a:gd name="connsiteY0" fmla="*/ -290 h 2286450"/>
                <a:gd name="connsiteX1" fmla="*/ 1529598 w 1530265"/>
                <a:gd name="connsiteY1" fmla="*/ 1111399 h 2286450"/>
                <a:gd name="connsiteX2" fmla="*/ 354152 w 1530265"/>
                <a:gd name="connsiteY2" fmla="*/ 2286160 h 2286450"/>
                <a:gd name="connsiteX3" fmla="*/ -667 w 1530265"/>
                <a:gd name="connsiteY3" fmla="*/ 2231623 h 2286450"/>
              </a:gdLst>
              <a:ahLst/>
              <a:cxnLst>
                <a:cxn ang="0">
                  <a:pos x="connsiteX0" y="connsiteY0"/>
                </a:cxn>
                <a:cxn ang="0">
                  <a:pos x="connsiteX1" y="connsiteY1"/>
                </a:cxn>
                <a:cxn ang="0">
                  <a:pos x="connsiteX2" y="connsiteY2"/>
                </a:cxn>
                <a:cxn ang="0">
                  <a:pos x="connsiteX3" y="connsiteY3"/>
                </a:cxn>
              </a:cxnLst>
              <a:rect l="l" t="t" r="r" b="b"/>
              <a:pathLst>
                <a:path w="1530265" h="2286450">
                  <a:moveTo>
                    <a:pt x="734900" y="-290"/>
                  </a:moveTo>
                  <a:cubicBezTo>
                    <a:pt x="1197211" y="157803"/>
                    <a:pt x="1529598" y="595815"/>
                    <a:pt x="1529598" y="1111399"/>
                  </a:cubicBezTo>
                  <a:cubicBezTo>
                    <a:pt x="1529598" y="1760224"/>
                    <a:pt x="1003321" y="2286160"/>
                    <a:pt x="354152" y="2286160"/>
                  </a:cubicBezTo>
                  <a:cubicBezTo>
                    <a:pt x="233781" y="2286270"/>
                    <a:pt x="114110" y="2267876"/>
                    <a:pt x="-667" y="2231623"/>
                  </a:cubicBezTo>
                  <a:close/>
                </a:path>
              </a:pathLst>
            </a:custGeom>
            <a:solidFill>
              <a:srgbClr val="000000">
                <a:alpha val="10000"/>
              </a:srgbClr>
            </a:solidFill>
            <a:ln w="3430" cap="flat">
              <a:noFill/>
              <a:prstDash val="solid"/>
              <a:miter/>
            </a:ln>
          </p:spPr>
          <p:txBody>
            <a:bodyPr rtlCol="0" anchor="ctr"/>
            <a:lstStyle/>
            <a:p>
              <a:endParaRPr lang="es-ES"/>
            </a:p>
          </p:txBody>
        </p:sp>
        <p:sp>
          <p:nvSpPr>
            <p:cNvPr id="828" name="Rectángulo 827">
              <a:extLst>
                <a:ext uri="{FF2B5EF4-FFF2-40B4-BE49-F238E27FC236}">
                  <a16:creationId xmlns:a16="http://schemas.microsoft.com/office/drawing/2014/main" id="{58CBA757-8979-9142-ACEF-1D49AEA1079A}"/>
                </a:ext>
              </a:extLst>
            </p:cNvPr>
            <p:cNvSpPr/>
            <p:nvPr/>
          </p:nvSpPr>
          <p:spPr>
            <a:xfrm>
              <a:off x="1869431" y="4249019"/>
              <a:ext cx="1454217" cy="992451"/>
            </a:xfrm>
            <a:prstGeom prst="rect">
              <a:avLst/>
            </a:prstGeom>
          </p:spPr>
          <p:txBody>
            <a:bodyPr wrap="square">
              <a:spAutoFit/>
            </a:bodyPr>
            <a:lstStyle/>
            <a:p>
              <a:pPr>
                <a:lnSpc>
                  <a:spcPts val="1400"/>
                </a:lnSpc>
                <a:spcAft>
                  <a:spcPts val="600"/>
                </a:spcAft>
                <a:defRPr/>
              </a:pPr>
              <a:r>
                <a:rPr lang="es-ES" sz="1600" b="1">
                  <a:solidFill>
                    <a:schemeClr val="bg1"/>
                  </a:solidFill>
                </a:rPr>
                <a:t>Aumentar la productividad </a:t>
              </a:r>
              <a:r>
                <a:rPr lang="es-ES" sz="1400">
                  <a:solidFill>
                    <a:schemeClr val="bg1"/>
                  </a:solidFill>
                </a:rPr>
                <a:t>mejorando las herramientas de trabajo.</a:t>
              </a:r>
              <a:endParaRPr lang="es-ES" sz="1200">
                <a:solidFill>
                  <a:schemeClr val="bg1"/>
                </a:solidFill>
              </a:endParaRPr>
            </a:p>
          </p:txBody>
        </p:sp>
        <p:grpSp>
          <p:nvGrpSpPr>
            <p:cNvPr id="850" name="Grupo 849">
              <a:extLst>
                <a:ext uri="{FF2B5EF4-FFF2-40B4-BE49-F238E27FC236}">
                  <a16:creationId xmlns:a16="http://schemas.microsoft.com/office/drawing/2014/main" id="{D11A8AB8-1B55-1D4E-BFAC-5F10E97616AD}"/>
                </a:ext>
              </a:extLst>
            </p:cNvPr>
            <p:cNvGrpSpPr/>
            <p:nvPr/>
          </p:nvGrpSpPr>
          <p:grpSpPr>
            <a:xfrm>
              <a:off x="2665911" y="5213130"/>
              <a:ext cx="648995" cy="648617"/>
              <a:chOff x="2010682" y="4078481"/>
              <a:chExt cx="1712476" cy="1711479"/>
            </a:xfrm>
          </p:grpSpPr>
          <p:sp>
            <p:nvSpPr>
              <p:cNvPr id="848" name="Forma libre 847">
                <a:extLst>
                  <a:ext uri="{FF2B5EF4-FFF2-40B4-BE49-F238E27FC236}">
                    <a16:creationId xmlns:a16="http://schemas.microsoft.com/office/drawing/2014/main" id="{614BA5EE-6E37-B446-B53B-1F900AFA2442}"/>
                  </a:ext>
                </a:extLst>
              </p:cNvPr>
              <p:cNvSpPr/>
              <p:nvPr/>
            </p:nvSpPr>
            <p:spPr>
              <a:xfrm>
                <a:off x="2010682" y="4078481"/>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49" name="Forma libre 848">
                <a:extLst>
                  <a:ext uri="{FF2B5EF4-FFF2-40B4-BE49-F238E27FC236}">
                    <a16:creationId xmlns:a16="http://schemas.microsoft.com/office/drawing/2014/main" id="{39F0C681-806D-0B4B-97BD-0DA32C233C13}"/>
                  </a:ext>
                </a:extLst>
              </p:cNvPr>
              <p:cNvSpPr/>
              <p:nvPr/>
            </p:nvSpPr>
            <p:spPr>
              <a:xfrm>
                <a:off x="2084112" y="4151868"/>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tx2"/>
              </a:solidFill>
              <a:ln w="3430" cap="flat">
                <a:noFill/>
                <a:prstDash val="solid"/>
                <a:miter/>
              </a:ln>
            </p:spPr>
            <p:txBody>
              <a:bodyPr rtlCol="0" anchor="ctr"/>
              <a:lstStyle/>
              <a:p>
                <a:endParaRPr lang="es-ES"/>
              </a:p>
            </p:txBody>
          </p:sp>
        </p:grpSp>
        <p:pic>
          <p:nvPicPr>
            <p:cNvPr id="888" name="Gráfico 887">
              <a:extLst>
                <a:ext uri="{FF2B5EF4-FFF2-40B4-BE49-F238E27FC236}">
                  <a16:creationId xmlns:a16="http://schemas.microsoft.com/office/drawing/2014/main" id="{A7D1951A-B810-5741-AA41-7724E2ABC25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2837553" y="5292544"/>
              <a:ext cx="394499" cy="475009"/>
            </a:xfrm>
            <a:prstGeom prst="rect">
              <a:avLst/>
            </a:prstGeom>
          </p:spPr>
        </p:pic>
      </p:grpSp>
      <p:grpSp>
        <p:nvGrpSpPr>
          <p:cNvPr id="9" name="Grupo 8">
            <a:extLst>
              <a:ext uri="{FF2B5EF4-FFF2-40B4-BE49-F238E27FC236}">
                <a16:creationId xmlns:a16="http://schemas.microsoft.com/office/drawing/2014/main" id="{FA5BF46E-90A1-4DAD-B06F-53217BA35004}"/>
              </a:ext>
            </a:extLst>
          </p:cNvPr>
          <p:cNvGrpSpPr/>
          <p:nvPr/>
        </p:nvGrpSpPr>
        <p:grpSpPr>
          <a:xfrm>
            <a:off x="6125065" y="479456"/>
            <a:ext cx="1859248" cy="2016941"/>
            <a:chOff x="5400340" y="1693780"/>
            <a:chExt cx="1859248" cy="2016941"/>
          </a:xfrm>
        </p:grpSpPr>
        <p:sp>
          <p:nvSpPr>
            <p:cNvPr id="812" name="Forma libre 811">
              <a:extLst>
                <a:ext uri="{FF2B5EF4-FFF2-40B4-BE49-F238E27FC236}">
                  <a16:creationId xmlns:a16="http://schemas.microsoft.com/office/drawing/2014/main" id="{2315C831-F69E-3C41-B433-954F15D02075}"/>
                </a:ext>
              </a:extLst>
            </p:cNvPr>
            <p:cNvSpPr/>
            <p:nvPr/>
          </p:nvSpPr>
          <p:spPr>
            <a:xfrm>
              <a:off x="5400340" y="1786947"/>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13" name="Forma libre 812">
              <a:extLst>
                <a:ext uri="{FF2B5EF4-FFF2-40B4-BE49-F238E27FC236}">
                  <a16:creationId xmlns:a16="http://schemas.microsoft.com/office/drawing/2014/main" id="{F0E6D667-B52C-AF47-8760-955C63ADC5C2}"/>
                </a:ext>
              </a:extLst>
            </p:cNvPr>
            <p:cNvSpPr/>
            <p:nvPr/>
          </p:nvSpPr>
          <p:spPr>
            <a:xfrm>
              <a:off x="5473770" y="1860334"/>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accent6"/>
            </a:solidFill>
            <a:ln w="3430" cap="flat">
              <a:noFill/>
              <a:prstDash val="solid"/>
              <a:miter/>
            </a:ln>
          </p:spPr>
          <p:txBody>
            <a:bodyPr rtlCol="0" anchor="ctr"/>
            <a:lstStyle/>
            <a:p>
              <a:endParaRPr lang="es-ES"/>
            </a:p>
          </p:txBody>
        </p:sp>
        <p:sp>
          <p:nvSpPr>
            <p:cNvPr id="815" name="Forma libre 814">
              <a:extLst>
                <a:ext uri="{FF2B5EF4-FFF2-40B4-BE49-F238E27FC236}">
                  <a16:creationId xmlns:a16="http://schemas.microsoft.com/office/drawing/2014/main" id="{B102C7D5-D824-4F47-969B-CAE92F346A86}"/>
                </a:ext>
              </a:extLst>
            </p:cNvPr>
            <p:cNvSpPr/>
            <p:nvPr/>
          </p:nvSpPr>
          <p:spPr>
            <a:xfrm>
              <a:off x="5953316" y="1693780"/>
              <a:ext cx="1306272" cy="1951771"/>
            </a:xfrm>
            <a:custGeom>
              <a:avLst/>
              <a:gdLst>
                <a:gd name="connsiteX0" fmla="*/ 734900 w 1530265"/>
                <a:gd name="connsiteY0" fmla="*/ -290 h 2286450"/>
                <a:gd name="connsiteX1" fmla="*/ 1529598 w 1530265"/>
                <a:gd name="connsiteY1" fmla="*/ 1111399 h 2286450"/>
                <a:gd name="connsiteX2" fmla="*/ 354152 w 1530265"/>
                <a:gd name="connsiteY2" fmla="*/ 2286160 h 2286450"/>
                <a:gd name="connsiteX3" fmla="*/ -667 w 1530265"/>
                <a:gd name="connsiteY3" fmla="*/ 2231623 h 2286450"/>
              </a:gdLst>
              <a:ahLst/>
              <a:cxnLst>
                <a:cxn ang="0">
                  <a:pos x="connsiteX0" y="connsiteY0"/>
                </a:cxn>
                <a:cxn ang="0">
                  <a:pos x="connsiteX1" y="connsiteY1"/>
                </a:cxn>
                <a:cxn ang="0">
                  <a:pos x="connsiteX2" y="connsiteY2"/>
                </a:cxn>
                <a:cxn ang="0">
                  <a:pos x="connsiteX3" y="connsiteY3"/>
                </a:cxn>
              </a:cxnLst>
              <a:rect l="l" t="t" r="r" b="b"/>
              <a:pathLst>
                <a:path w="1530265" h="2286450">
                  <a:moveTo>
                    <a:pt x="734900" y="-290"/>
                  </a:moveTo>
                  <a:cubicBezTo>
                    <a:pt x="1197211" y="157803"/>
                    <a:pt x="1529598" y="595815"/>
                    <a:pt x="1529598" y="1111399"/>
                  </a:cubicBezTo>
                  <a:cubicBezTo>
                    <a:pt x="1529598" y="1760224"/>
                    <a:pt x="1003321" y="2286160"/>
                    <a:pt x="354152" y="2286160"/>
                  </a:cubicBezTo>
                  <a:cubicBezTo>
                    <a:pt x="233781" y="2286270"/>
                    <a:pt x="114110" y="2267876"/>
                    <a:pt x="-667" y="2231623"/>
                  </a:cubicBezTo>
                  <a:close/>
                </a:path>
              </a:pathLst>
            </a:custGeom>
            <a:solidFill>
              <a:srgbClr val="000000">
                <a:alpha val="10000"/>
              </a:srgbClr>
            </a:solidFill>
            <a:ln w="3430" cap="flat">
              <a:noFill/>
              <a:prstDash val="solid"/>
              <a:miter/>
            </a:ln>
          </p:spPr>
          <p:txBody>
            <a:bodyPr rtlCol="0" anchor="ctr"/>
            <a:lstStyle/>
            <a:p>
              <a:endParaRPr lang="es-ES"/>
            </a:p>
          </p:txBody>
        </p:sp>
        <p:sp>
          <p:nvSpPr>
            <p:cNvPr id="816" name="Rectángulo 815">
              <a:extLst>
                <a:ext uri="{FF2B5EF4-FFF2-40B4-BE49-F238E27FC236}">
                  <a16:creationId xmlns:a16="http://schemas.microsoft.com/office/drawing/2014/main" id="{31374199-3AF6-4441-AA5D-90707D49B34B}"/>
                </a:ext>
              </a:extLst>
            </p:cNvPr>
            <p:cNvSpPr/>
            <p:nvPr/>
          </p:nvSpPr>
          <p:spPr>
            <a:xfrm>
              <a:off x="5625497" y="2090430"/>
              <a:ext cx="1083968" cy="812915"/>
            </a:xfrm>
            <a:prstGeom prst="rect">
              <a:avLst/>
            </a:prstGeom>
          </p:spPr>
          <p:txBody>
            <a:bodyPr wrap="square">
              <a:spAutoFit/>
            </a:bodyPr>
            <a:lstStyle/>
            <a:p>
              <a:pPr>
                <a:lnSpc>
                  <a:spcPts val="1400"/>
                </a:lnSpc>
                <a:spcAft>
                  <a:spcPts val="600"/>
                </a:spcAft>
                <a:defRPr/>
              </a:pPr>
              <a:r>
                <a:rPr lang="es-ES" sz="1600" b="1">
                  <a:solidFill>
                    <a:schemeClr val="bg1"/>
                  </a:solidFill>
                </a:rPr>
                <a:t>Luchar</a:t>
              </a:r>
              <a:r>
                <a:rPr lang="es-ES" sz="1200" b="1">
                  <a:solidFill>
                    <a:schemeClr val="bg1"/>
                  </a:solidFill>
                </a:rPr>
                <a:t> </a:t>
              </a:r>
              <a:r>
                <a:rPr lang="es-ES" sz="1400">
                  <a:solidFill>
                    <a:schemeClr val="bg1"/>
                  </a:solidFill>
                </a:rPr>
                <a:t>contra la España vaciada</a:t>
              </a:r>
              <a:endParaRPr lang="es-ES" sz="1200">
                <a:solidFill>
                  <a:schemeClr val="bg1"/>
                </a:solidFill>
              </a:endParaRPr>
            </a:p>
          </p:txBody>
        </p:sp>
        <p:grpSp>
          <p:nvGrpSpPr>
            <p:cNvPr id="872" name="Grupo 871">
              <a:extLst>
                <a:ext uri="{FF2B5EF4-FFF2-40B4-BE49-F238E27FC236}">
                  <a16:creationId xmlns:a16="http://schemas.microsoft.com/office/drawing/2014/main" id="{A5ED4D87-134F-B441-9D9A-77887BAEBBD7}"/>
                </a:ext>
              </a:extLst>
            </p:cNvPr>
            <p:cNvGrpSpPr/>
            <p:nvPr/>
          </p:nvGrpSpPr>
          <p:grpSpPr>
            <a:xfrm>
              <a:off x="6414897" y="3062104"/>
              <a:ext cx="648995" cy="648617"/>
              <a:chOff x="2010682" y="4078481"/>
              <a:chExt cx="1712476" cy="1711479"/>
            </a:xfrm>
          </p:grpSpPr>
          <p:sp>
            <p:nvSpPr>
              <p:cNvPr id="873" name="Forma libre 872">
                <a:extLst>
                  <a:ext uri="{FF2B5EF4-FFF2-40B4-BE49-F238E27FC236}">
                    <a16:creationId xmlns:a16="http://schemas.microsoft.com/office/drawing/2014/main" id="{F761E73C-AB2E-DF4A-9058-64589EB9E23D}"/>
                  </a:ext>
                </a:extLst>
              </p:cNvPr>
              <p:cNvSpPr/>
              <p:nvPr/>
            </p:nvSpPr>
            <p:spPr>
              <a:xfrm>
                <a:off x="2010682" y="4078481"/>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74" name="Forma libre 873">
                <a:extLst>
                  <a:ext uri="{FF2B5EF4-FFF2-40B4-BE49-F238E27FC236}">
                    <a16:creationId xmlns:a16="http://schemas.microsoft.com/office/drawing/2014/main" id="{DE6E3F05-310D-B94F-9805-9ABBE801DAB2}"/>
                  </a:ext>
                </a:extLst>
              </p:cNvPr>
              <p:cNvSpPr/>
              <p:nvPr/>
            </p:nvSpPr>
            <p:spPr>
              <a:xfrm>
                <a:off x="2084112" y="4151868"/>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accent6"/>
              </a:solidFill>
              <a:ln w="3430" cap="flat">
                <a:noFill/>
                <a:prstDash val="solid"/>
                <a:miter/>
              </a:ln>
            </p:spPr>
            <p:txBody>
              <a:bodyPr rtlCol="0" anchor="ctr"/>
              <a:lstStyle/>
              <a:p>
                <a:endParaRPr lang="es-ES"/>
              </a:p>
            </p:txBody>
          </p:sp>
        </p:grpSp>
        <p:pic>
          <p:nvPicPr>
            <p:cNvPr id="889" name="Gráfico 888">
              <a:extLst>
                <a:ext uri="{FF2B5EF4-FFF2-40B4-BE49-F238E27FC236}">
                  <a16:creationId xmlns:a16="http://schemas.microsoft.com/office/drawing/2014/main" id="{4F372ECB-77DF-D746-B8C2-451DBCF06AAB}"/>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524056" y="3103149"/>
              <a:ext cx="420290" cy="504348"/>
            </a:xfrm>
            <a:prstGeom prst="rect">
              <a:avLst/>
            </a:prstGeom>
          </p:spPr>
        </p:pic>
      </p:grpSp>
      <p:grpSp>
        <p:nvGrpSpPr>
          <p:cNvPr id="3" name="Grupo 2">
            <a:extLst>
              <a:ext uri="{FF2B5EF4-FFF2-40B4-BE49-F238E27FC236}">
                <a16:creationId xmlns:a16="http://schemas.microsoft.com/office/drawing/2014/main" id="{674E565D-E131-4A07-9FC3-94634F4A6ACD}"/>
              </a:ext>
            </a:extLst>
          </p:cNvPr>
          <p:cNvGrpSpPr/>
          <p:nvPr/>
        </p:nvGrpSpPr>
        <p:grpSpPr>
          <a:xfrm>
            <a:off x="5335710" y="4528581"/>
            <a:ext cx="1859248" cy="2016941"/>
            <a:chOff x="1638431" y="1693780"/>
            <a:chExt cx="1859248" cy="2016941"/>
          </a:xfrm>
        </p:grpSpPr>
        <p:sp>
          <p:nvSpPr>
            <p:cNvPr id="788" name="Forma libre 787">
              <a:extLst>
                <a:ext uri="{FF2B5EF4-FFF2-40B4-BE49-F238E27FC236}">
                  <a16:creationId xmlns:a16="http://schemas.microsoft.com/office/drawing/2014/main" id="{E92A5A7D-CA8B-4E4F-BFEB-EDE9ECBB4877}"/>
                </a:ext>
              </a:extLst>
            </p:cNvPr>
            <p:cNvSpPr/>
            <p:nvPr/>
          </p:nvSpPr>
          <p:spPr>
            <a:xfrm>
              <a:off x="1638431" y="1786947"/>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789" name="Forma libre 788">
              <a:extLst>
                <a:ext uri="{FF2B5EF4-FFF2-40B4-BE49-F238E27FC236}">
                  <a16:creationId xmlns:a16="http://schemas.microsoft.com/office/drawing/2014/main" id="{01ADA021-6025-7547-879C-FB3063EC3B06}"/>
                </a:ext>
              </a:extLst>
            </p:cNvPr>
            <p:cNvSpPr/>
            <p:nvPr/>
          </p:nvSpPr>
          <p:spPr>
            <a:xfrm>
              <a:off x="1711861" y="1860334"/>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tx1"/>
            </a:solidFill>
            <a:ln w="3430" cap="flat">
              <a:noFill/>
              <a:prstDash val="solid"/>
              <a:miter/>
            </a:ln>
          </p:spPr>
          <p:txBody>
            <a:bodyPr rtlCol="0" anchor="ctr"/>
            <a:lstStyle/>
            <a:p>
              <a:endParaRPr lang="es-ES"/>
            </a:p>
          </p:txBody>
        </p:sp>
        <p:sp>
          <p:nvSpPr>
            <p:cNvPr id="791" name="Forma libre 790">
              <a:extLst>
                <a:ext uri="{FF2B5EF4-FFF2-40B4-BE49-F238E27FC236}">
                  <a16:creationId xmlns:a16="http://schemas.microsoft.com/office/drawing/2014/main" id="{36A23BB6-676E-A04A-B874-279E9BBDF1C4}"/>
                </a:ext>
              </a:extLst>
            </p:cNvPr>
            <p:cNvSpPr/>
            <p:nvPr/>
          </p:nvSpPr>
          <p:spPr>
            <a:xfrm>
              <a:off x="2191407" y="1693780"/>
              <a:ext cx="1306272" cy="1951771"/>
            </a:xfrm>
            <a:custGeom>
              <a:avLst/>
              <a:gdLst>
                <a:gd name="connsiteX0" fmla="*/ 734900 w 1530265"/>
                <a:gd name="connsiteY0" fmla="*/ -290 h 2286450"/>
                <a:gd name="connsiteX1" fmla="*/ 1529598 w 1530265"/>
                <a:gd name="connsiteY1" fmla="*/ 1111399 h 2286450"/>
                <a:gd name="connsiteX2" fmla="*/ 354152 w 1530265"/>
                <a:gd name="connsiteY2" fmla="*/ 2286160 h 2286450"/>
                <a:gd name="connsiteX3" fmla="*/ -667 w 1530265"/>
                <a:gd name="connsiteY3" fmla="*/ 2231623 h 2286450"/>
              </a:gdLst>
              <a:ahLst/>
              <a:cxnLst>
                <a:cxn ang="0">
                  <a:pos x="connsiteX0" y="connsiteY0"/>
                </a:cxn>
                <a:cxn ang="0">
                  <a:pos x="connsiteX1" y="connsiteY1"/>
                </a:cxn>
                <a:cxn ang="0">
                  <a:pos x="connsiteX2" y="connsiteY2"/>
                </a:cxn>
                <a:cxn ang="0">
                  <a:pos x="connsiteX3" y="connsiteY3"/>
                </a:cxn>
              </a:cxnLst>
              <a:rect l="l" t="t" r="r" b="b"/>
              <a:pathLst>
                <a:path w="1530265" h="2286450">
                  <a:moveTo>
                    <a:pt x="734900" y="-290"/>
                  </a:moveTo>
                  <a:cubicBezTo>
                    <a:pt x="1197211" y="157803"/>
                    <a:pt x="1529598" y="595815"/>
                    <a:pt x="1529598" y="1111399"/>
                  </a:cubicBezTo>
                  <a:cubicBezTo>
                    <a:pt x="1529598" y="1760224"/>
                    <a:pt x="1003321" y="2286160"/>
                    <a:pt x="354152" y="2286160"/>
                  </a:cubicBezTo>
                  <a:cubicBezTo>
                    <a:pt x="233781" y="2286270"/>
                    <a:pt x="114110" y="2267876"/>
                    <a:pt x="-667" y="2231623"/>
                  </a:cubicBezTo>
                  <a:close/>
                </a:path>
              </a:pathLst>
            </a:custGeom>
            <a:solidFill>
              <a:srgbClr val="000000">
                <a:alpha val="10000"/>
              </a:srgbClr>
            </a:solidFill>
            <a:ln w="3430" cap="flat">
              <a:noFill/>
              <a:prstDash val="solid"/>
              <a:miter/>
            </a:ln>
          </p:spPr>
          <p:txBody>
            <a:bodyPr rtlCol="0" anchor="ctr"/>
            <a:lstStyle/>
            <a:p>
              <a:endParaRPr lang="es-ES"/>
            </a:p>
          </p:txBody>
        </p:sp>
        <p:sp>
          <p:nvSpPr>
            <p:cNvPr id="792" name="Rectángulo 791">
              <a:extLst>
                <a:ext uri="{FF2B5EF4-FFF2-40B4-BE49-F238E27FC236}">
                  <a16:creationId xmlns:a16="http://schemas.microsoft.com/office/drawing/2014/main" id="{F2EC0C50-CF1B-7647-8CFD-9BC9708790F5}"/>
                </a:ext>
              </a:extLst>
            </p:cNvPr>
            <p:cNvSpPr/>
            <p:nvPr/>
          </p:nvSpPr>
          <p:spPr>
            <a:xfrm>
              <a:off x="1805222" y="2205690"/>
              <a:ext cx="1508195" cy="812979"/>
            </a:xfrm>
            <a:prstGeom prst="rect">
              <a:avLst/>
            </a:prstGeom>
          </p:spPr>
          <p:txBody>
            <a:bodyPr wrap="square">
              <a:spAutoFit/>
            </a:bodyPr>
            <a:lstStyle/>
            <a:p>
              <a:pPr>
                <a:lnSpc>
                  <a:spcPts val="1400"/>
                </a:lnSpc>
                <a:spcAft>
                  <a:spcPts val="600"/>
                </a:spcAft>
                <a:defRPr/>
              </a:pPr>
              <a:r>
                <a:rPr lang="es-ES" sz="1600" b="1">
                  <a:solidFill>
                    <a:schemeClr val="bg1"/>
                  </a:solidFill>
                </a:rPr>
                <a:t>Incrementar   la seguridad</a:t>
              </a:r>
              <a:r>
                <a:rPr lang="es-ES" sz="1200" b="1">
                  <a:solidFill>
                    <a:schemeClr val="bg1"/>
                  </a:solidFill>
                </a:rPr>
                <a:t>  </a:t>
              </a:r>
              <a:r>
                <a:rPr lang="es-ES" sz="1400">
                  <a:solidFill>
                    <a:schemeClr val="bg1"/>
                  </a:solidFill>
                </a:rPr>
                <a:t>frente a las </a:t>
              </a:r>
              <a:r>
                <a:rPr lang="es-ES" sz="1400" err="1">
                  <a:solidFill>
                    <a:schemeClr val="bg1"/>
                  </a:solidFill>
                </a:rPr>
                <a:t>ciberamenazas</a:t>
              </a:r>
              <a:r>
                <a:rPr lang="es-ES" sz="1400">
                  <a:solidFill>
                    <a:schemeClr val="bg1"/>
                  </a:solidFill>
                </a:rPr>
                <a:t>.</a:t>
              </a:r>
              <a:endParaRPr lang="es-ES" sz="1200">
                <a:solidFill>
                  <a:schemeClr val="bg1"/>
                </a:solidFill>
              </a:endParaRPr>
            </a:p>
          </p:txBody>
        </p:sp>
        <p:grpSp>
          <p:nvGrpSpPr>
            <p:cNvPr id="866" name="Grupo 865">
              <a:extLst>
                <a:ext uri="{FF2B5EF4-FFF2-40B4-BE49-F238E27FC236}">
                  <a16:creationId xmlns:a16="http://schemas.microsoft.com/office/drawing/2014/main" id="{B93DB896-8DB3-EA48-A1FC-9CB731F07ED6}"/>
                </a:ext>
              </a:extLst>
            </p:cNvPr>
            <p:cNvGrpSpPr/>
            <p:nvPr/>
          </p:nvGrpSpPr>
          <p:grpSpPr>
            <a:xfrm>
              <a:off x="2682894" y="3062104"/>
              <a:ext cx="648995" cy="648617"/>
              <a:chOff x="2010682" y="4078481"/>
              <a:chExt cx="1712476" cy="1711479"/>
            </a:xfrm>
          </p:grpSpPr>
          <p:sp>
            <p:nvSpPr>
              <p:cNvPr id="867" name="Forma libre 866">
                <a:extLst>
                  <a:ext uri="{FF2B5EF4-FFF2-40B4-BE49-F238E27FC236}">
                    <a16:creationId xmlns:a16="http://schemas.microsoft.com/office/drawing/2014/main" id="{A5DD90EE-8CBC-1C4D-8EFE-97559E6FB0DA}"/>
                  </a:ext>
                </a:extLst>
              </p:cNvPr>
              <p:cNvSpPr/>
              <p:nvPr/>
            </p:nvSpPr>
            <p:spPr>
              <a:xfrm>
                <a:off x="2010682" y="4078481"/>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68" name="Forma libre 867">
                <a:extLst>
                  <a:ext uri="{FF2B5EF4-FFF2-40B4-BE49-F238E27FC236}">
                    <a16:creationId xmlns:a16="http://schemas.microsoft.com/office/drawing/2014/main" id="{C9E53EC3-DAAC-AF4C-B016-6DB921E1B011}"/>
                  </a:ext>
                </a:extLst>
              </p:cNvPr>
              <p:cNvSpPr/>
              <p:nvPr/>
            </p:nvSpPr>
            <p:spPr>
              <a:xfrm>
                <a:off x="2084112" y="4151868"/>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tx1"/>
              </a:solidFill>
              <a:ln w="3430" cap="flat">
                <a:noFill/>
                <a:prstDash val="solid"/>
                <a:miter/>
              </a:ln>
            </p:spPr>
            <p:txBody>
              <a:bodyPr rtlCol="0" anchor="ctr"/>
              <a:lstStyle/>
              <a:p>
                <a:endParaRPr lang="es-ES"/>
              </a:p>
            </p:txBody>
          </p:sp>
        </p:grpSp>
        <p:pic>
          <p:nvPicPr>
            <p:cNvPr id="890" name="Gráfico 889">
              <a:extLst>
                <a:ext uri="{FF2B5EF4-FFF2-40B4-BE49-F238E27FC236}">
                  <a16:creationId xmlns:a16="http://schemas.microsoft.com/office/drawing/2014/main" id="{70B2D103-ED64-CB45-9253-80976FC780D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2806967" y="3122674"/>
              <a:ext cx="379278" cy="474097"/>
            </a:xfrm>
            <a:prstGeom prst="rect">
              <a:avLst/>
            </a:prstGeom>
          </p:spPr>
        </p:pic>
      </p:grpSp>
      <p:grpSp>
        <p:nvGrpSpPr>
          <p:cNvPr id="15" name="Grupo 14">
            <a:extLst>
              <a:ext uri="{FF2B5EF4-FFF2-40B4-BE49-F238E27FC236}">
                <a16:creationId xmlns:a16="http://schemas.microsoft.com/office/drawing/2014/main" id="{A06A5BE6-1893-42D6-8E95-BCC618FB190A}"/>
              </a:ext>
            </a:extLst>
          </p:cNvPr>
          <p:cNvGrpSpPr/>
          <p:nvPr/>
        </p:nvGrpSpPr>
        <p:grpSpPr>
          <a:xfrm>
            <a:off x="6082083" y="2565496"/>
            <a:ext cx="1859248" cy="2028833"/>
            <a:chOff x="5425639" y="3832914"/>
            <a:chExt cx="1859248" cy="2028833"/>
          </a:xfrm>
        </p:grpSpPr>
        <p:sp>
          <p:nvSpPr>
            <p:cNvPr id="836" name="Forma libre 835">
              <a:extLst>
                <a:ext uri="{FF2B5EF4-FFF2-40B4-BE49-F238E27FC236}">
                  <a16:creationId xmlns:a16="http://schemas.microsoft.com/office/drawing/2014/main" id="{BDF46C12-CDDC-8147-BC1F-AAFCD99BE24D}"/>
                </a:ext>
              </a:extLst>
            </p:cNvPr>
            <p:cNvSpPr/>
            <p:nvPr/>
          </p:nvSpPr>
          <p:spPr>
            <a:xfrm>
              <a:off x="5425639" y="3926081"/>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37" name="Forma libre 836">
              <a:extLst>
                <a:ext uri="{FF2B5EF4-FFF2-40B4-BE49-F238E27FC236}">
                  <a16:creationId xmlns:a16="http://schemas.microsoft.com/office/drawing/2014/main" id="{1CD2E7D2-56C3-E847-BFFC-56BA9AC3792C}"/>
                </a:ext>
              </a:extLst>
            </p:cNvPr>
            <p:cNvSpPr/>
            <p:nvPr/>
          </p:nvSpPr>
          <p:spPr>
            <a:xfrm>
              <a:off x="5499069" y="3999468"/>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accent5">
                <a:lumMod val="50000"/>
              </a:schemeClr>
            </a:solidFill>
            <a:ln w="3430" cap="flat">
              <a:noFill/>
              <a:prstDash val="solid"/>
              <a:miter/>
            </a:ln>
          </p:spPr>
          <p:txBody>
            <a:bodyPr rtlCol="0" anchor="ctr"/>
            <a:lstStyle/>
            <a:p>
              <a:endParaRPr lang="es-ES"/>
            </a:p>
          </p:txBody>
        </p:sp>
        <p:sp>
          <p:nvSpPr>
            <p:cNvPr id="839" name="Forma libre 838">
              <a:extLst>
                <a:ext uri="{FF2B5EF4-FFF2-40B4-BE49-F238E27FC236}">
                  <a16:creationId xmlns:a16="http://schemas.microsoft.com/office/drawing/2014/main" id="{FA15D382-1742-894F-927D-C3CAE8A5E798}"/>
                </a:ext>
              </a:extLst>
            </p:cNvPr>
            <p:cNvSpPr/>
            <p:nvPr/>
          </p:nvSpPr>
          <p:spPr>
            <a:xfrm>
              <a:off x="5978615" y="3832914"/>
              <a:ext cx="1306272" cy="1951771"/>
            </a:xfrm>
            <a:custGeom>
              <a:avLst/>
              <a:gdLst>
                <a:gd name="connsiteX0" fmla="*/ 734900 w 1530265"/>
                <a:gd name="connsiteY0" fmla="*/ -290 h 2286450"/>
                <a:gd name="connsiteX1" fmla="*/ 1529598 w 1530265"/>
                <a:gd name="connsiteY1" fmla="*/ 1111399 h 2286450"/>
                <a:gd name="connsiteX2" fmla="*/ 354152 w 1530265"/>
                <a:gd name="connsiteY2" fmla="*/ 2286160 h 2286450"/>
                <a:gd name="connsiteX3" fmla="*/ -667 w 1530265"/>
                <a:gd name="connsiteY3" fmla="*/ 2231623 h 2286450"/>
              </a:gdLst>
              <a:ahLst/>
              <a:cxnLst>
                <a:cxn ang="0">
                  <a:pos x="connsiteX0" y="connsiteY0"/>
                </a:cxn>
                <a:cxn ang="0">
                  <a:pos x="connsiteX1" y="connsiteY1"/>
                </a:cxn>
                <a:cxn ang="0">
                  <a:pos x="connsiteX2" y="connsiteY2"/>
                </a:cxn>
                <a:cxn ang="0">
                  <a:pos x="connsiteX3" y="connsiteY3"/>
                </a:cxn>
              </a:cxnLst>
              <a:rect l="l" t="t" r="r" b="b"/>
              <a:pathLst>
                <a:path w="1530265" h="2286450">
                  <a:moveTo>
                    <a:pt x="734900" y="-290"/>
                  </a:moveTo>
                  <a:cubicBezTo>
                    <a:pt x="1197211" y="157803"/>
                    <a:pt x="1529598" y="595815"/>
                    <a:pt x="1529598" y="1111399"/>
                  </a:cubicBezTo>
                  <a:cubicBezTo>
                    <a:pt x="1529598" y="1760224"/>
                    <a:pt x="1003321" y="2286160"/>
                    <a:pt x="354152" y="2286160"/>
                  </a:cubicBezTo>
                  <a:cubicBezTo>
                    <a:pt x="233781" y="2286270"/>
                    <a:pt x="114110" y="2267876"/>
                    <a:pt x="-667" y="2231623"/>
                  </a:cubicBezTo>
                  <a:close/>
                </a:path>
              </a:pathLst>
            </a:custGeom>
            <a:solidFill>
              <a:srgbClr val="000000">
                <a:alpha val="10000"/>
              </a:srgbClr>
            </a:solidFill>
            <a:ln w="3430" cap="flat">
              <a:noFill/>
              <a:prstDash val="solid"/>
              <a:miter/>
            </a:ln>
          </p:spPr>
          <p:txBody>
            <a:bodyPr rtlCol="0" anchor="ctr"/>
            <a:lstStyle/>
            <a:p>
              <a:endParaRPr lang="es-ES"/>
            </a:p>
          </p:txBody>
        </p:sp>
        <p:sp>
          <p:nvSpPr>
            <p:cNvPr id="840" name="Rectángulo 839">
              <a:extLst>
                <a:ext uri="{FF2B5EF4-FFF2-40B4-BE49-F238E27FC236}">
                  <a16:creationId xmlns:a16="http://schemas.microsoft.com/office/drawing/2014/main" id="{D8FDDB6C-7B4A-7743-87D5-4254E5C49101}"/>
                </a:ext>
              </a:extLst>
            </p:cNvPr>
            <p:cNvSpPr/>
            <p:nvPr/>
          </p:nvSpPr>
          <p:spPr>
            <a:xfrm>
              <a:off x="5611885" y="4210109"/>
              <a:ext cx="1549571" cy="1171988"/>
            </a:xfrm>
            <a:prstGeom prst="rect">
              <a:avLst/>
            </a:prstGeom>
          </p:spPr>
          <p:txBody>
            <a:bodyPr wrap="square">
              <a:spAutoFit/>
            </a:bodyPr>
            <a:lstStyle/>
            <a:p>
              <a:pPr>
                <a:lnSpc>
                  <a:spcPts val="1400"/>
                </a:lnSpc>
                <a:spcAft>
                  <a:spcPts val="600"/>
                </a:spcAft>
                <a:defRPr/>
              </a:pPr>
              <a:r>
                <a:rPr lang="es-ES" sz="1600" b="1">
                  <a:solidFill>
                    <a:schemeClr val="bg1"/>
                  </a:solidFill>
                </a:rPr>
                <a:t>Fortalecer</a:t>
              </a:r>
              <a:r>
                <a:rPr lang="es-ES" sz="1200" b="1">
                  <a:solidFill>
                    <a:schemeClr val="bg1"/>
                  </a:solidFill>
                </a:rPr>
                <a:t> </a:t>
              </a:r>
              <a:r>
                <a:rPr lang="es-ES" sz="1400">
                  <a:solidFill>
                    <a:schemeClr val="bg1"/>
                  </a:solidFill>
                </a:rPr>
                <a:t>la empleabilidad y uso de tecnologías inclusivas para personas con movilidad</a:t>
              </a:r>
              <a:endParaRPr lang="es-ES" sz="1200">
                <a:solidFill>
                  <a:schemeClr val="bg1"/>
                </a:solidFill>
              </a:endParaRPr>
            </a:p>
          </p:txBody>
        </p:sp>
        <p:sp>
          <p:nvSpPr>
            <p:cNvPr id="847" name="Rectángulo 846">
              <a:extLst>
                <a:ext uri="{FF2B5EF4-FFF2-40B4-BE49-F238E27FC236}">
                  <a16:creationId xmlns:a16="http://schemas.microsoft.com/office/drawing/2014/main" id="{6438A1B9-1BC8-0549-9043-5BDF4B138EB7}"/>
                </a:ext>
              </a:extLst>
            </p:cNvPr>
            <p:cNvSpPr/>
            <p:nvPr/>
          </p:nvSpPr>
          <p:spPr>
            <a:xfrm>
              <a:off x="5842934" y="5260271"/>
              <a:ext cx="866488" cy="274306"/>
            </a:xfrm>
            <a:prstGeom prst="rect">
              <a:avLst/>
            </a:prstGeom>
          </p:spPr>
          <p:txBody>
            <a:bodyPr wrap="square">
              <a:spAutoFit/>
            </a:bodyPr>
            <a:lstStyle/>
            <a:p>
              <a:pPr>
                <a:lnSpc>
                  <a:spcPts val="1400"/>
                </a:lnSpc>
                <a:spcAft>
                  <a:spcPts val="600"/>
                </a:spcAft>
                <a:defRPr/>
              </a:pPr>
              <a:r>
                <a:rPr lang="es-ES" sz="1400">
                  <a:solidFill>
                    <a:schemeClr val="bg1"/>
                  </a:solidFill>
                </a:rPr>
                <a:t>reducida.</a:t>
              </a:r>
              <a:endParaRPr lang="es-ES" sz="1200">
                <a:solidFill>
                  <a:schemeClr val="bg1"/>
                </a:solidFill>
              </a:endParaRPr>
            </a:p>
          </p:txBody>
        </p:sp>
        <p:grpSp>
          <p:nvGrpSpPr>
            <p:cNvPr id="854" name="Grupo 853">
              <a:extLst>
                <a:ext uri="{FF2B5EF4-FFF2-40B4-BE49-F238E27FC236}">
                  <a16:creationId xmlns:a16="http://schemas.microsoft.com/office/drawing/2014/main" id="{3E99CD0C-4B4A-0445-88CF-AE93957FFE71}"/>
                </a:ext>
              </a:extLst>
            </p:cNvPr>
            <p:cNvGrpSpPr/>
            <p:nvPr/>
          </p:nvGrpSpPr>
          <p:grpSpPr>
            <a:xfrm>
              <a:off x="6586186" y="5213130"/>
              <a:ext cx="648995" cy="648617"/>
              <a:chOff x="2010682" y="4078481"/>
              <a:chExt cx="1712476" cy="1711479"/>
            </a:xfrm>
          </p:grpSpPr>
          <p:sp>
            <p:nvSpPr>
              <p:cNvPr id="855" name="Forma libre 854">
                <a:extLst>
                  <a:ext uri="{FF2B5EF4-FFF2-40B4-BE49-F238E27FC236}">
                    <a16:creationId xmlns:a16="http://schemas.microsoft.com/office/drawing/2014/main" id="{F3A49713-8BBD-2046-95B2-773038282014}"/>
                  </a:ext>
                </a:extLst>
              </p:cNvPr>
              <p:cNvSpPr/>
              <p:nvPr/>
            </p:nvSpPr>
            <p:spPr>
              <a:xfrm>
                <a:off x="2010682" y="4078481"/>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56" name="Forma libre 855">
                <a:extLst>
                  <a:ext uri="{FF2B5EF4-FFF2-40B4-BE49-F238E27FC236}">
                    <a16:creationId xmlns:a16="http://schemas.microsoft.com/office/drawing/2014/main" id="{73EB2919-D81D-7D4F-8D05-DCF1490E26BC}"/>
                  </a:ext>
                </a:extLst>
              </p:cNvPr>
              <p:cNvSpPr/>
              <p:nvPr/>
            </p:nvSpPr>
            <p:spPr>
              <a:xfrm>
                <a:off x="2084112" y="4151868"/>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accent5">
                  <a:lumMod val="50000"/>
                </a:schemeClr>
              </a:solidFill>
              <a:ln w="3430" cap="flat">
                <a:noFill/>
                <a:prstDash val="solid"/>
                <a:miter/>
              </a:ln>
            </p:spPr>
            <p:txBody>
              <a:bodyPr rtlCol="0" anchor="ctr"/>
              <a:lstStyle/>
              <a:p>
                <a:endParaRPr lang="es-ES"/>
              </a:p>
            </p:txBody>
          </p:sp>
        </p:grpSp>
        <p:grpSp>
          <p:nvGrpSpPr>
            <p:cNvPr id="891" name="Gráfico 32">
              <a:extLst>
                <a:ext uri="{FF2B5EF4-FFF2-40B4-BE49-F238E27FC236}">
                  <a16:creationId xmlns:a16="http://schemas.microsoft.com/office/drawing/2014/main" id="{D91B4605-7C7D-E649-A59B-04C8B5B35C76}"/>
                </a:ext>
              </a:extLst>
            </p:cNvPr>
            <p:cNvGrpSpPr/>
            <p:nvPr/>
          </p:nvGrpSpPr>
          <p:grpSpPr>
            <a:xfrm>
              <a:off x="6750034" y="5381906"/>
              <a:ext cx="328297" cy="333874"/>
              <a:chOff x="5724525" y="3052762"/>
              <a:chExt cx="739997" cy="752570"/>
            </a:xfrm>
            <a:solidFill>
              <a:schemeClr val="accent1"/>
            </a:solidFill>
          </p:grpSpPr>
          <p:sp>
            <p:nvSpPr>
              <p:cNvPr id="892" name="Forma libre: forma 34">
                <a:extLst>
                  <a:ext uri="{FF2B5EF4-FFF2-40B4-BE49-F238E27FC236}">
                    <a16:creationId xmlns:a16="http://schemas.microsoft.com/office/drawing/2014/main" id="{18F5981F-6D7D-304A-AFE9-B61F999E7DA2}"/>
                  </a:ext>
                </a:extLst>
              </p:cNvPr>
              <p:cNvSpPr/>
              <p:nvPr/>
            </p:nvSpPr>
            <p:spPr>
              <a:xfrm>
                <a:off x="5774435" y="3052762"/>
                <a:ext cx="640175" cy="462438"/>
              </a:xfrm>
              <a:custGeom>
                <a:avLst/>
                <a:gdLst>
                  <a:gd name="connsiteX0" fmla="*/ 0 w 640175"/>
                  <a:gd name="connsiteY0" fmla="*/ 462439 h 462438"/>
                  <a:gd name="connsiteX1" fmla="*/ 0 w 640175"/>
                  <a:gd name="connsiteY1" fmla="*/ 63818 h 462438"/>
                  <a:gd name="connsiteX2" fmla="*/ 57626 w 640175"/>
                  <a:gd name="connsiteY2" fmla="*/ 0 h 462438"/>
                  <a:gd name="connsiteX3" fmla="*/ 582549 w 640175"/>
                  <a:gd name="connsiteY3" fmla="*/ 0 h 462438"/>
                  <a:gd name="connsiteX4" fmla="*/ 640175 w 640175"/>
                  <a:gd name="connsiteY4" fmla="*/ 63818 h 462438"/>
                  <a:gd name="connsiteX5" fmla="*/ 640175 w 640175"/>
                  <a:gd name="connsiteY5" fmla="*/ 462439 h 4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0175" h="462438">
                    <a:moveTo>
                      <a:pt x="0" y="462439"/>
                    </a:moveTo>
                    <a:lnTo>
                      <a:pt x="0" y="63818"/>
                    </a:lnTo>
                    <a:cubicBezTo>
                      <a:pt x="0" y="28575"/>
                      <a:pt x="25813" y="0"/>
                      <a:pt x="57626" y="0"/>
                    </a:cubicBezTo>
                    <a:lnTo>
                      <a:pt x="582549" y="0"/>
                    </a:lnTo>
                    <a:cubicBezTo>
                      <a:pt x="614363" y="0"/>
                      <a:pt x="640175" y="28575"/>
                      <a:pt x="640175" y="63818"/>
                    </a:cubicBezTo>
                    <a:lnTo>
                      <a:pt x="640175" y="462439"/>
                    </a:lnTo>
                  </a:path>
                </a:pathLst>
              </a:custGeom>
              <a:noFill/>
              <a:ln w="6350" cap="flat">
                <a:solidFill>
                  <a:schemeClr val="bg1"/>
                </a:solidFill>
                <a:prstDash val="solid"/>
                <a:round/>
              </a:ln>
            </p:spPr>
            <p:txBody>
              <a:bodyPr rtlCol="0" anchor="ctr"/>
              <a:lstStyle/>
              <a:p>
                <a:endParaRPr lang="es-ES"/>
              </a:p>
            </p:txBody>
          </p:sp>
          <p:sp>
            <p:nvSpPr>
              <p:cNvPr id="893" name="Forma libre: forma 35">
                <a:extLst>
                  <a:ext uri="{FF2B5EF4-FFF2-40B4-BE49-F238E27FC236}">
                    <a16:creationId xmlns:a16="http://schemas.microsoft.com/office/drawing/2014/main" id="{ACBBCF8F-8463-D049-BE62-7274D34C68FB}"/>
                  </a:ext>
                </a:extLst>
              </p:cNvPr>
              <p:cNvSpPr/>
              <p:nvPr/>
            </p:nvSpPr>
            <p:spPr>
              <a:xfrm>
                <a:off x="5724525" y="3518915"/>
                <a:ext cx="321849" cy="118681"/>
              </a:xfrm>
              <a:custGeom>
                <a:avLst/>
                <a:gdLst>
                  <a:gd name="connsiteX0" fmla="*/ 321850 w 321849"/>
                  <a:gd name="connsiteY0" fmla="*/ 118682 h 118681"/>
                  <a:gd name="connsiteX1" fmla="*/ 20765 w 321849"/>
                  <a:gd name="connsiteY1" fmla="*/ 118682 h 118681"/>
                  <a:gd name="connsiteX2" fmla="*/ 0 w 321849"/>
                  <a:gd name="connsiteY2" fmla="*/ 97822 h 118681"/>
                  <a:gd name="connsiteX3" fmla="*/ 0 w 321849"/>
                  <a:gd name="connsiteY3" fmla="*/ 20860 h 118681"/>
                  <a:gd name="connsiteX4" fmla="*/ 20765 w 321849"/>
                  <a:gd name="connsiteY4" fmla="*/ 0 h 118681"/>
                  <a:gd name="connsiteX5" fmla="*/ 259461 w 321849"/>
                  <a:gd name="connsiteY5" fmla="*/ 0 h 118681"/>
                  <a:gd name="connsiteX6" fmla="*/ 321850 w 321849"/>
                  <a:gd name="connsiteY6" fmla="*/ 118682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1849" h="118681">
                    <a:moveTo>
                      <a:pt x="321850" y="118682"/>
                    </a:moveTo>
                    <a:lnTo>
                      <a:pt x="20765" y="118682"/>
                    </a:lnTo>
                    <a:cubicBezTo>
                      <a:pt x="9335" y="118682"/>
                      <a:pt x="0" y="109347"/>
                      <a:pt x="0" y="97822"/>
                    </a:cubicBezTo>
                    <a:lnTo>
                      <a:pt x="0" y="20860"/>
                    </a:lnTo>
                    <a:cubicBezTo>
                      <a:pt x="0" y="9334"/>
                      <a:pt x="9335" y="0"/>
                      <a:pt x="20765" y="0"/>
                    </a:cubicBezTo>
                    <a:lnTo>
                      <a:pt x="259461" y="0"/>
                    </a:lnTo>
                    <a:cubicBezTo>
                      <a:pt x="286226" y="38386"/>
                      <a:pt x="304610" y="73057"/>
                      <a:pt x="321850" y="118682"/>
                    </a:cubicBezTo>
                    <a:close/>
                  </a:path>
                </a:pathLst>
              </a:custGeom>
              <a:noFill/>
              <a:ln w="6350" cap="flat">
                <a:solidFill>
                  <a:schemeClr val="bg1"/>
                </a:solidFill>
                <a:prstDash val="solid"/>
                <a:round/>
              </a:ln>
            </p:spPr>
            <p:txBody>
              <a:bodyPr rtlCol="0" anchor="ctr"/>
              <a:lstStyle/>
              <a:p>
                <a:endParaRPr lang="es-ES"/>
              </a:p>
            </p:txBody>
          </p:sp>
          <p:sp>
            <p:nvSpPr>
              <p:cNvPr id="894" name="Forma libre: forma 36">
                <a:extLst>
                  <a:ext uri="{FF2B5EF4-FFF2-40B4-BE49-F238E27FC236}">
                    <a16:creationId xmlns:a16="http://schemas.microsoft.com/office/drawing/2014/main" id="{4A803F2E-CC3E-3B42-AED2-4C8ECECE5ABF}"/>
                  </a:ext>
                </a:extLst>
              </p:cNvPr>
              <p:cNvSpPr/>
              <p:nvPr/>
            </p:nvSpPr>
            <p:spPr>
              <a:xfrm>
                <a:off x="6046374" y="3637597"/>
                <a:ext cx="9525" cy="9525"/>
              </a:xfrm>
              <a:custGeom>
                <a:avLst/>
                <a:gdLst>
                  <a:gd name="connsiteX0" fmla="*/ 0 w 9525"/>
                  <a:gd name="connsiteY0" fmla="*/ 0 h 9525"/>
                  <a:gd name="connsiteX1" fmla="*/ 0 w 9525"/>
                  <a:gd name="connsiteY1" fmla="*/ 0 h 9525"/>
                </a:gdLst>
                <a:ahLst/>
                <a:cxnLst>
                  <a:cxn ang="0">
                    <a:pos x="connsiteX0" y="connsiteY0"/>
                  </a:cxn>
                  <a:cxn ang="0">
                    <a:pos x="connsiteX1" y="connsiteY1"/>
                  </a:cxn>
                </a:cxnLst>
                <a:rect l="l" t="t" r="r" b="b"/>
                <a:pathLst>
                  <a:path w="9525" h="9525">
                    <a:moveTo>
                      <a:pt x="0" y="0"/>
                    </a:moveTo>
                    <a:lnTo>
                      <a:pt x="0" y="0"/>
                    </a:lnTo>
                  </a:path>
                </a:pathLst>
              </a:custGeom>
              <a:ln w="6350" cap="flat">
                <a:solidFill>
                  <a:schemeClr val="bg1"/>
                </a:solidFill>
                <a:prstDash val="solid"/>
                <a:round/>
              </a:ln>
            </p:spPr>
            <p:txBody>
              <a:bodyPr rtlCol="0" anchor="ctr"/>
              <a:lstStyle/>
              <a:p>
                <a:endParaRPr lang="es-ES"/>
              </a:p>
            </p:txBody>
          </p:sp>
          <p:sp>
            <p:nvSpPr>
              <p:cNvPr id="895" name="Forma libre: forma 37">
                <a:extLst>
                  <a:ext uri="{FF2B5EF4-FFF2-40B4-BE49-F238E27FC236}">
                    <a16:creationId xmlns:a16="http://schemas.microsoft.com/office/drawing/2014/main" id="{B167EAF3-10B4-6D45-AFD4-9778C4D92C2C}"/>
                  </a:ext>
                </a:extLst>
              </p:cNvPr>
              <p:cNvSpPr/>
              <p:nvPr/>
            </p:nvSpPr>
            <p:spPr>
              <a:xfrm>
                <a:off x="6255734" y="3518820"/>
                <a:ext cx="208788" cy="118681"/>
              </a:xfrm>
              <a:custGeom>
                <a:avLst/>
                <a:gdLst>
                  <a:gd name="connsiteX0" fmla="*/ 208788 w 208788"/>
                  <a:gd name="connsiteY0" fmla="*/ 20860 h 118681"/>
                  <a:gd name="connsiteX1" fmla="*/ 208788 w 208788"/>
                  <a:gd name="connsiteY1" fmla="*/ 97822 h 118681"/>
                  <a:gd name="connsiteX2" fmla="*/ 188024 w 208788"/>
                  <a:gd name="connsiteY2" fmla="*/ 118681 h 118681"/>
                  <a:gd name="connsiteX3" fmla="*/ 0 w 208788"/>
                  <a:gd name="connsiteY3" fmla="*/ 118681 h 118681"/>
                  <a:gd name="connsiteX4" fmla="*/ 7810 w 208788"/>
                  <a:gd name="connsiteY4" fmla="*/ 0 h 118681"/>
                  <a:gd name="connsiteX5" fmla="*/ 187928 w 208788"/>
                  <a:gd name="connsiteY5" fmla="*/ 0 h 118681"/>
                  <a:gd name="connsiteX6" fmla="*/ 208788 w 208788"/>
                  <a:gd name="connsiteY6" fmla="*/ 20860 h 11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788" h="118681">
                    <a:moveTo>
                      <a:pt x="208788" y="20860"/>
                    </a:moveTo>
                    <a:lnTo>
                      <a:pt x="208788" y="97822"/>
                    </a:lnTo>
                    <a:cubicBezTo>
                      <a:pt x="208788" y="109347"/>
                      <a:pt x="199453" y="118681"/>
                      <a:pt x="188024" y="118681"/>
                    </a:cubicBezTo>
                    <a:lnTo>
                      <a:pt x="0" y="118681"/>
                    </a:lnTo>
                    <a:cubicBezTo>
                      <a:pt x="5905" y="76200"/>
                      <a:pt x="10097" y="30766"/>
                      <a:pt x="7810" y="0"/>
                    </a:cubicBezTo>
                    <a:lnTo>
                      <a:pt x="187928" y="0"/>
                    </a:lnTo>
                    <a:cubicBezTo>
                      <a:pt x="199453" y="95"/>
                      <a:pt x="208788" y="9430"/>
                      <a:pt x="208788" y="20860"/>
                    </a:cubicBezTo>
                    <a:close/>
                  </a:path>
                </a:pathLst>
              </a:custGeom>
              <a:noFill/>
              <a:ln w="6350" cap="flat">
                <a:solidFill>
                  <a:schemeClr val="bg1"/>
                </a:solidFill>
                <a:prstDash val="solid"/>
                <a:round/>
              </a:ln>
            </p:spPr>
            <p:txBody>
              <a:bodyPr rtlCol="0" anchor="ctr"/>
              <a:lstStyle/>
              <a:p>
                <a:endParaRPr lang="es-ES"/>
              </a:p>
            </p:txBody>
          </p:sp>
          <p:sp>
            <p:nvSpPr>
              <p:cNvPr id="896" name="Forma libre: forma 38">
                <a:extLst>
                  <a:ext uri="{FF2B5EF4-FFF2-40B4-BE49-F238E27FC236}">
                    <a16:creationId xmlns:a16="http://schemas.microsoft.com/office/drawing/2014/main" id="{8D695C65-A854-FC4C-B039-8C6C8E5465EA}"/>
                  </a:ext>
                </a:extLst>
              </p:cNvPr>
              <p:cNvSpPr/>
              <p:nvPr/>
            </p:nvSpPr>
            <p:spPr>
              <a:xfrm>
                <a:off x="6255734" y="3637597"/>
                <a:ext cx="9525" cy="9525"/>
              </a:xfrm>
              <a:custGeom>
                <a:avLst/>
                <a:gdLst>
                  <a:gd name="connsiteX0" fmla="*/ 0 w 9525"/>
                  <a:gd name="connsiteY0" fmla="*/ 0 h 9525"/>
                  <a:gd name="connsiteX1" fmla="*/ 0 w 9525"/>
                  <a:gd name="connsiteY1" fmla="*/ 0 h 9525"/>
                </a:gdLst>
                <a:ahLst/>
                <a:cxnLst>
                  <a:cxn ang="0">
                    <a:pos x="connsiteX0" y="connsiteY0"/>
                  </a:cxn>
                  <a:cxn ang="0">
                    <a:pos x="connsiteX1" y="connsiteY1"/>
                  </a:cxn>
                </a:cxnLst>
                <a:rect l="l" t="t" r="r" b="b"/>
                <a:pathLst>
                  <a:path w="9525" h="9525">
                    <a:moveTo>
                      <a:pt x="0" y="0"/>
                    </a:moveTo>
                    <a:lnTo>
                      <a:pt x="0" y="0"/>
                    </a:lnTo>
                  </a:path>
                </a:pathLst>
              </a:custGeom>
              <a:ln w="6350" cap="flat">
                <a:solidFill>
                  <a:schemeClr val="bg1"/>
                </a:solidFill>
                <a:prstDash val="solid"/>
                <a:round/>
              </a:ln>
            </p:spPr>
            <p:txBody>
              <a:bodyPr rtlCol="0" anchor="ctr"/>
              <a:lstStyle/>
              <a:p>
                <a:endParaRPr lang="es-ES"/>
              </a:p>
            </p:txBody>
          </p:sp>
          <p:sp>
            <p:nvSpPr>
              <p:cNvPr id="897" name="Forma libre: forma 39">
                <a:extLst>
                  <a:ext uri="{FF2B5EF4-FFF2-40B4-BE49-F238E27FC236}">
                    <a16:creationId xmlns:a16="http://schemas.microsoft.com/office/drawing/2014/main" id="{5232CE4A-7CBE-DA46-A9DD-4F9A072CE2F9}"/>
                  </a:ext>
                </a:extLst>
              </p:cNvPr>
              <p:cNvSpPr/>
              <p:nvPr/>
            </p:nvSpPr>
            <p:spPr>
              <a:xfrm>
                <a:off x="6263544" y="3518915"/>
                <a:ext cx="9525" cy="9525"/>
              </a:xfrm>
              <a:custGeom>
                <a:avLst/>
                <a:gdLst>
                  <a:gd name="connsiteX0" fmla="*/ 0 w 9525"/>
                  <a:gd name="connsiteY0" fmla="*/ 0 h 9525"/>
                  <a:gd name="connsiteX1" fmla="*/ 0 w 9525"/>
                  <a:gd name="connsiteY1" fmla="*/ 0 h 9525"/>
                </a:gdLst>
                <a:ahLst/>
                <a:cxnLst>
                  <a:cxn ang="0">
                    <a:pos x="connsiteX0" y="connsiteY0"/>
                  </a:cxn>
                  <a:cxn ang="0">
                    <a:pos x="connsiteX1" y="connsiteY1"/>
                  </a:cxn>
                </a:cxnLst>
                <a:rect l="l" t="t" r="r" b="b"/>
                <a:pathLst>
                  <a:path w="9525" h="9525">
                    <a:moveTo>
                      <a:pt x="0" y="0"/>
                    </a:moveTo>
                    <a:lnTo>
                      <a:pt x="0" y="0"/>
                    </a:lnTo>
                  </a:path>
                </a:pathLst>
              </a:custGeom>
              <a:ln w="6350" cap="flat">
                <a:solidFill>
                  <a:schemeClr val="bg1"/>
                </a:solidFill>
                <a:prstDash val="solid"/>
                <a:round/>
              </a:ln>
            </p:spPr>
            <p:txBody>
              <a:bodyPr rtlCol="0" anchor="ctr"/>
              <a:lstStyle/>
              <a:p>
                <a:endParaRPr lang="es-ES"/>
              </a:p>
            </p:txBody>
          </p:sp>
          <p:sp>
            <p:nvSpPr>
              <p:cNvPr id="898" name="Forma libre: forma 42">
                <a:extLst>
                  <a:ext uri="{FF2B5EF4-FFF2-40B4-BE49-F238E27FC236}">
                    <a16:creationId xmlns:a16="http://schemas.microsoft.com/office/drawing/2014/main" id="{4DE71680-4774-9B42-A34E-C924C904435C}"/>
                  </a:ext>
                </a:extLst>
              </p:cNvPr>
              <p:cNvSpPr/>
              <p:nvPr/>
            </p:nvSpPr>
            <p:spPr>
              <a:xfrm>
                <a:off x="6116859" y="3408661"/>
                <a:ext cx="99726" cy="73106"/>
              </a:xfrm>
              <a:custGeom>
                <a:avLst/>
                <a:gdLst>
                  <a:gd name="connsiteX0" fmla="*/ 0 w 99726"/>
                  <a:gd name="connsiteY0" fmla="*/ 15861 h 73106"/>
                  <a:gd name="connsiteX1" fmla="*/ 51626 w 99726"/>
                  <a:gd name="connsiteY1" fmla="*/ 18147 h 73106"/>
                  <a:gd name="connsiteX2" fmla="*/ 51626 w 99726"/>
                  <a:gd name="connsiteY2" fmla="*/ 39198 h 73106"/>
                  <a:gd name="connsiteX3" fmla="*/ 55150 w 99726"/>
                  <a:gd name="connsiteY3" fmla="*/ 40722 h 73106"/>
                  <a:gd name="connsiteX4" fmla="*/ 99727 w 99726"/>
                  <a:gd name="connsiteY4" fmla="*/ 52533 h 73106"/>
                  <a:gd name="connsiteX5" fmla="*/ 99727 w 99726"/>
                  <a:gd name="connsiteY5" fmla="*/ 73107 h 73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726" h="73106">
                    <a:moveTo>
                      <a:pt x="0" y="15861"/>
                    </a:moveTo>
                    <a:cubicBezTo>
                      <a:pt x="381" y="-6618"/>
                      <a:pt x="51340" y="-4617"/>
                      <a:pt x="51626" y="18147"/>
                    </a:cubicBezTo>
                    <a:lnTo>
                      <a:pt x="51626" y="39198"/>
                    </a:lnTo>
                    <a:cubicBezTo>
                      <a:pt x="51626" y="41007"/>
                      <a:pt x="53816" y="41960"/>
                      <a:pt x="55150" y="40722"/>
                    </a:cubicBezTo>
                    <a:cubicBezTo>
                      <a:pt x="66199" y="30530"/>
                      <a:pt x="99727" y="34435"/>
                      <a:pt x="99727" y="52533"/>
                    </a:cubicBezTo>
                    <a:lnTo>
                      <a:pt x="99727" y="73107"/>
                    </a:lnTo>
                  </a:path>
                </a:pathLst>
              </a:custGeom>
              <a:noFill/>
              <a:ln w="6350" cap="rnd">
                <a:solidFill>
                  <a:schemeClr val="bg1"/>
                </a:solidFill>
                <a:prstDash val="solid"/>
                <a:round/>
              </a:ln>
            </p:spPr>
            <p:txBody>
              <a:bodyPr rtlCol="0" anchor="ctr"/>
              <a:lstStyle/>
              <a:p>
                <a:endParaRPr lang="es-ES"/>
              </a:p>
            </p:txBody>
          </p:sp>
          <p:sp>
            <p:nvSpPr>
              <p:cNvPr id="899" name="Forma libre: forma 43">
                <a:extLst>
                  <a:ext uri="{FF2B5EF4-FFF2-40B4-BE49-F238E27FC236}">
                    <a16:creationId xmlns:a16="http://schemas.microsoft.com/office/drawing/2014/main" id="{5CA91B0B-F5BC-B840-B6EC-E7A4F4370399}"/>
                  </a:ext>
                </a:extLst>
              </p:cNvPr>
              <p:cNvSpPr/>
              <p:nvPr/>
            </p:nvSpPr>
            <p:spPr>
              <a:xfrm>
                <a:off x="6227063" y="3637597"/>
                <a:ext cx="28765" cy="96583"/>
              </a:xfrm>
              <a:custGeom>
                <a:avLst/>
                <a:gdLst>
                  <a:gd name="connsiteX0" fmla="*/ 0 w 28765"/>
                  <a:gd name="connsiteY0" fmla="*/ 96583 h 96583"/>
                  <a:gd name="connsiteX1" fmla="*/ 2096 w 28765"/>
                  <a:gd name="connsiteY1" fmla="*/ 94583 h 96583"/>
                  <a:gd name="connsiteX2" fmla="*/ 5810 w 28765"/>
                  <a:gd name="connsiteY2" fmla="*/ 57436 h 96583"/>
                  <a:gd name="connsiteX3" fmla="*/ 28480 w 28765"/>
                  <a:gd name="connsiteY3" fmla="*/ 2286 h 96583"/>
                  <a:gd name="connsiteX4" fmla="*/ 28766 w 28765"/>
                  <a:gd name="connsiteY4" fmla="*/ 0 h 96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65" h="96583">
                    <a:moveTo>
                      <a:pt x="0" y="96583"/>
                    </a:moveTo>
                    <a:cubicBezTo>
                      <a:pt x="1143" y="96583"/>
                      <a:pt x="2000" y="95726"/>
                      <a:pt x="2096" y="94583"/>
                    </a:cubicBezTo>
                    <a:cubicBezTo>
                      <a:pt x="2286" y="88487"/>
                      <a:pt x="3048" y="69723"/>
                      <a:pt x="5810" y="57436"/>
                    </a:cubicBezTo>
                    <a:cubicBezTo>
                      <a:pt x="9239" y="42481"/>
                      <a:pt x="24479" y="30861"/>
                      <a:pt x="28480" y="2286"/>
                    </a:cubicBezTo>
                    <a:cubicBezTo>
                      <a:pt x="28575" y="1524"/>
                      <a:pt x="28670" y="762"/>
                      <a:pt x="28766" y="0"/>
                    </a:cubicBezTo>
                  </a:path>
                </a:pathLst>
              </a:custGeom>
              <a:noFill/>
              <a:ln w="6350" cap="rnd">
                <a:solidFill>
                  <a:schemeClr val="bg1"/>
                </a:solidFill>
                <a:prstDash val="solid"/>
                <a:round/>
              </a:ln>
            </p:spPr>
            <p:txBody>
              <a:bodyPr rtlCol="0" anchor="ctr"/>
              <a:lstStyle/>
              <a:p>
                <a:endParaRPr lang="es-ES"/>
              </a:p>
            </p:txBody>
          </p:sp>
          <p:sp>
            <p:nvSpPr>
              <p:cNvPr id="900" name="Forma libre: forma 44">
                <a:extLst>
                  <a:ext uri="{FF2B5EF4-FFF2-40B4-BE49-F238E27FC236}">
                    <a16:creationId xmlns:a16="http://schemas.microsoft.com/office/drawing/2014/main" id="{CCDA953A-0545-2743-A4C7-DA78125DF9B0}"/>
                  </a:ext>
                </a:extLst>
              </p:cNvPr>
              <p:cNvSpPr/>
              <p:nvPr/>
            </p:nvSpPr>
            <p:spPr>
              <a:xfrm>
                <a:off x="6216586" y="3475369"/>
                <a:ext cx="46958" cy="54594"/>
              </a:xfrm>
              <a:custGeom>
                <a:avLst/>
                <a:gdLst>
                  <a:gd name="connsiteX0" fmla="*/ 46958 w 46958"/>
                  <a:gd name="connsiteY0" fmla="*/ 43546 h 54594"/>
                  <a:gd name="connsiteX1" fmla="*/ 38957 w 46958"/>
                  <a:gd name="connsiteY1" fmla="*/ 11828 h 54594"/>
                  <a:gd name="connsiteX2" fmla="*/ 1333 w 46958"/>
                  <a:gd name="connsiteY2" fmla="*/ 4494 h 54594"/>
                  <a:gd name="connsiteX3" fmla="*/ 0 w 46958"/>
                  <a:gd name="connsiteY3" fmla="*/ 6399 h 54594"/>
                  <a:gd name="connsiteX4" fmla="*/ 0 w 46958"/>
                  <a:gd name="connsiteY4" fmla="*/ 54595 h 54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58" h="54594">
                    <a:moveTo>
                      <a:pt x="46958" y="43546"/>
                    </a:moveTo>
                    <a:cubicBezTo>
                      <a:pt x="45910" y="29163"/>
                      <a:pt x="43339" y="18019"/>
                      <a:pt x="38957" y="11828"/>
                    </a:cubicBezTo>
                    <a:cubicBezTo>
                      <a:pt x="28480" y="-2841"/>
                      <a:pt x="17240" y="-2079"/>
                      <a:pt x="1333" y="4494"/>
                    </a:cubicBezTo>
                    <a:cubicBezTo>
                      <a:pt x="572" y="4779"/>
                      <a:pt x="0" y="5541"/>
                      <a:pt x="0" y="6399"/>
                    </a:cubicBezTo>
                    <a:lnTo>
                      <a:pt x="0" y="54595"/>
                    </a:lnTo>
                  </a:path>
                </a:pathLst>
              </a:custGeom>
              <a:noFill/>
              <a:ln w="6350" cap="rnd">
                <a:solidFill>
                  <a:schemeClr val="bg1"/>
                </a:solidFill>
                <a:prstDash val="solid"/>
                <a:round/>
              </a:ln>
            </p:spPr>
            <p:txBody>
              <a:bodyPr rtlCol="0" anchor="ctr"/>
              <a:lstStyle/>
              <a:p>
                <a:endParaRPr lang="es-ES"/>
              </a:p>
            </p:txBody>
          </p:sp>
          <p:sp>
            <p:nvSpPr>
              <p:cNvPr id="901" name="Forma libre: forma 45">
                <a:extLst>
                  <a:ext uri="{FF2B5EF4-FFF2-40B4-BE49-F238E27FC236}">
                    <a16:creationId xmlns:a16="http://schemas.microsoft.com/office/drawing/2014/main" id="{E73F015D-C512-0342-9096-317A8196CBF9}"/>
                  </a:ext>
                </a:extLst>
              </p:cNvPr>
              <p:cNvSpPr/>
              <p:nvPr/>
            </p:nvSpPr>
            <p:spPr>
              <a:xfrm>
                <a:off x="5967492" y="3376421"/>
                <a:ext cx="94503" cy="152581"/>
              </a:xfrm>
              <a:custGeom>
                <a:avLst/>
                <a:gdLst>
                  <a:gd name="connsiteX0" fmla="*/ 94504 w 94503"/>
                  <a:gd name="connsiteY0" fmla="*/ 0 h 152581"/>
                  <a:gd name="connsiteX1" fmla="*/ 94504 w 94503"/>
                  <a:gd name="connsiteY1" fmla="*/ 150495 h 152581"/>
                  <a:gd name="connsiteX2" fmla="*/ 90694 w 94503"/>
                  <a:gd name="connsiteY2" fmla="*/ 151733 h 152581"/>
                  <a:gd name="connsiteX3" fmla="*/ 32877 w 94503"/>
                  <a:gd name="connsiteY3" fmla="*/ 89630 h 152581"/>
                  <a:gd name="connsiteX4" fmla="*/ 3064 w 94503"/>
                  <a:gd name="connsiteY4" fmla="*/ 123634 h 152581"/>
                  <a:gd name="connsiteX5" fmla="*/ 16589 w 94503"/>
                  <a:gd name="connsiteY5" fmla="*/ 142399 h 152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503" h="152581">
                    <a:moveTo>
                      <a:pt x="94504" y="0"/>
                    </a:moveTo>
                    <a:lnTo>
                      <a:pt x="94504" y="150495"/>
                    </a:lnTo>
                    <a:cubicBezTo>
                      <a:pt x="94504" y="152495"/>
                      <a:pt x="91932" y="153353"/>
                      <a:pt x="90694" y="151733"/>
                    </a:cubicBezTo>
                    <a:cubicBezTo>
                      <a:pt x="71929" y="125158"/>
                      <a:pt x="55832" y="103918"/>
                      <a:pt x="32877" y="89630"/>
                    </a:cubicBezTo>
                    <a:cubicBezTo>
                      <a:pt x="14970" y="78486"/>
                      <a:pt x="-8462" y="105728"/>
                      <a:pt x="3064" y="123634"/>
                    </a:cubicBezTo>
                    <a:cubicBezTo>
                      <a:pt x="7826" y="130016"/>
                      <a:pt x="12303" y="136303"/>
                      <a:pt x="16589" y="142399"/>
                    </a:cubicBezTo>
                  </a:path>
                </a:pathLst>
              </a:custGeom>
              <a:noFill/>
              <a:ln w="6350" cap="rnd">
                <a:solidFill>
                  <a:schemeClr val="bg1"/>
                </a:solidFill>
                <a:prstDash val="solid"/>
                <a:round/>
              </a:ln>
            </p:spPr>
            <p:txBody>
              <a:bodyPr rtlCol="0" anchor="ctr"/>
              <a:lstStyle/>
              <a:p>
                <a:endParaRPr lang="es-ES"/>
              </a:p>
            </p:txBody>
          </p:sp>
          <p:sp>
            <p:nvSpPr>
              <p:cNvPr id="902" name="Forma libre: forma 46">
                <a:extLst>
                  <a:ext uri="{FF2B5EF4-FFF2-40B4-BE49-F238E27FC236}">
                    <a16:creationId xmlns:a16="http://schemas.microsoft.com/office/drawing/2014/main" id="{C2F4F781-6480-8A4A-B9DE-6FF592F421C6}"/>
                  </a:ext>
                </a:extLst>
              </p:cNvPr>
              <p:cNvSpPr/>
              <p:nvPr/>
            </p:nvSpPr>
            <p:spPr>
              <a:xfrm>
                <a:off x="6116859" y="3344703"/>
                <a:ext cx="9525" cy="129444"/>
              </a:xfrm>
              <a:custGeom>
                <a:avLst/>
                <a:gdLst>
                  <a:gd name="connsiteX0" fmla="*/ 0 w 9525"/>
                  <a:gd name="connsiteY0" fmla="*/ 0 h 129444"/>
                  <a:gd name="connsiteX1" fmla="*/ 0 w 9525"/>
                  <a:gd name="connsiteY1" fmla="*/ 79819 h 129444"/>
                  <a:gd name="connsiteX2" fmla="*/ 0 w 9525"/>
                  <a:gd name="connsiteY2" fmla="*/ 129445 h 129444"/>
                </a:gdLst>
                <a:ahLst/>
                <a:cxnLst>
                  <a:cxn ang="0">
                    <a:pos x="connsiteX0" y="connsiteY0"/>
                  </a:cxn>
                  <a:cxn ang="0">
                    <a:pos x="connsiteX1" y="connsiteY1"/>
                  </a:cxn>
                  <a:cxn ang="0">
                    <a:pos x="connsiteX2" y="connsiteY2"/>
                  </a:cxn>
                </a:cxnLst>
                <a:rect l="l" t="t" r="r" b="b"/>
                <a:pathLst>
                  <a:path w="9525" h="129444">
                    <a:moveTo>
                      <a:pt x="0" y="0"/>
                    </a:moveTo>
                    <a:cubicBezTo>
                      <a:pt x="0" y="19240"/>
                      <a:pt x="0" y="50578"/>
                      <a:pt x="0" y="79819"/>
                    </a:cubicBezTo>
                    <a:cubicBezTo>
                      <a:pt x="0" y="98393"/>
                      <a:pt x="0" y="116110"/>
                      <a:pt x="0" y="129445"/>
                    </a:cubicBezTo>
                  </a:path>
                </a:pathLst>
              </a:custGeom>
              <a:noFill/>
              <a:ln w="6350" cap="rnd">
                <a:solidFill>
                  <a:schemeClr val="bg1"/>
                </a:solidFill>
                <a:prstDash val="solid"/>
                <a:round/>
              </a:ln>
            </p:spPr>
            <p:txBody>
              <a:bodyPr rtlCol="0" anchor="ctr"/>
              <a:lstStyle/>
              <a:p>
                <a:endParaRPr lang="es-ES"/>
              </a:p>
            </p:txBody>
          </p:sp>
          <p:sp>
            <p:nvSpPr>
              <p:cNvPr id="903" name="Forma libre: forma 47">
                <a:extLst>
                  <a:ext uri="{FF2B5EF4-FFF2-40B4-BE49-F238E27FC236}">
                    <a16:creationId xmlns:a16="http://schemas.microsoft.com/office/drawing/2014/main" id="{2A5A929A-C357-1746-A90B-8CE78D4B3B39}"/>
                  </a:ext>
                </a:extLst>
              </p:cNvPr>
              <p:cNvSpPr/>
              <p:nvPr/>
            </p:nvSpPr>
            <p:spPr>
              <a:xfrm>
                <a:off x="6046374" y="3637597"/>
                <a:ext cx="25907" cy="96678"/>
              </a:xfrm>
              <a:custGeom>
                <a:avLst/>
                <a:gdLst>
                  <a:gd name="connsiteX0" fmla="*/ 0 w 25907"/>
                  <a:gd name="connsiteY0" fmla="*/ 0 h 96678"/>
                  <a:gd name="connsiteX1" fmla="*/ 19526 w 25907"/>
                  <a:gd name="connsiteY1" fmla="*/ 57436 h 96678"/>
                  <a:gd name="connsiteX2" fmla="*/ 23813 w 25907"/>
                  <a:gd name="connsiteY2" fmla="*/ 94583 h 96678"/>
                  <a:gd name="connsiteX3" fmla="*/ 25908 w 25907"/>
                  <a:gd name="connsiteY3" fmla="*/ 96679 h 96678"/>
                </a:gdLst>
                <a:ahLst/>
                <a:cxnLst>
                  <a:cxn ang="0">
                    <a:pos x="connsiteX0" y="connsiteY0"/>
                  </a:cxn>
                  <a:cxn ang="0">
                    <a:pos x="connsiteX1" y="connsiteY1"/>
                  </a:cxn>
                  <a:cxn ang="0">
                    <a:pos x="connsiteX2" y="connsiteY2"/>
                  </a:cxn>
                  <a:cxn ang="0">
                    <a:pos x="connsiteX3" y="connsiteY3"/>
                  </a:cxn>
                </a:cxnLst>
                <a:rect l="l" t="t" r="r" b="b"/>
                <a:pathLst>
                  <a:path w="25907" h="96678">
                    <a:moveTo>
                      <a:pt x="0" y="0"/>
                    </a:moveTo>
                    <a:cubicBezTo>
                      <a:pt x="6572" y="17335"/>
                      <a:pt x="12859" y="36195"/>
                      <a:pt x="19526" y="57436"/>
                    </a:cubicBezTo>
                    <a:cubicBezTo>
                      <a:pt x="23527" y="70294"/>
                      <a:pt x="23813" y="88487"/>
                      <a:pt x="23813" y="94583"/>
                    </a:cubicBezTo>
                    <a:cubicBezTo>
                      <a:pt x="23813" y="95726"/>
                      <a:pt x="24765" y="96679"/>
                      <a:pt x="25908" y="96679"/>
                    </a:cubicBezTo>
                  </a:path>
                </a:pathLst>
              </a:custGeom>
              <a:noFill/>
              <a:ln w="6350" cap="rnd">
                <a:solidFill>
                  <a:schemeClr val="bg1"/>
                </a:solidFill>
                <a:prstDash val="solid"/>
                <a:round/>
              </a:ln>
            </p:spPr>
            <p:txBody>
              <a:bodyPr rtlCol="0" anchor="ctr"/>
              <a:lstStyle/>
              <a:p>
                <a:endParaRPr lang="es-ES"/>
              </a:p>
            </p:txBody>
          </p:sp>
          <p:sp>
            <p:nvSpPr>
              <p:cNvPr id="904" name="Forma libre: forma 48">
                <a:extLst>
                  <a:ext uri="{FF2B5EF4-FFF2-40B4-BE49-F238E27FC236}">
                    <a16:creationId xmlns:a16="http://schemas.microsoft.com/office/drawing/2014/main" id="{F3A7EB6F-6698-FE41-AAD0-7A9D25624E32}"/>
                  </a:ext>
                </a:extLst>
              </p:cNvPr>
              <p:cNvSpPr/>
              <p:nvPr/>
            </p:nvSpPr>
            <p:spPr>
              <a:xfrm>
                <a:off x="6168485" y="3457098"/>
                <a:ext cx="9525" cy="46577"/>
              </a:xfrm>
              <a:custGeom>
                <a:avLst/>
                <a:gdLst>
                  <a:gd name="connsiteX0" fmla="*/ 0 w 9525"/>
                  <a:gd name="connsiteY0" fmla="*/ 0 h 46577"/>
                  <a:gd name="connsiteX1" fmla="*/ 0 w 9525"/>
                  <a:gd name="connsiteY1" fmla="*/ 46577 h 46577"/>
                </a:gdLst>
                <a:ahLst/>
                <a:cxnLst>
                  <a:cxn ang="0">
                    <a:pos x="connsiteX0" y="connsiteY0"/>
                  </a:cxn>
                  <a:cxn ang="0">
                    <a:pos x="connsiteX1" y="connsiteY1"/>
                  </a:cxn>
                </a:cxnLst>
                <a:rect l="l" t="t" r="r" b="b"/>
                <a:pathLst>
                  <a:path w="9525" h="46577">
                    <a:moveTo>
                      <a:pt x="0" y="0"/>
                    </a:moveTo>
                    <a:lnTo>
                      <a:pt x="0" y="46577"/>
                    </a:lnTo>
                  </a:path>
                </a:pathLst>
              </a:custGeom>
              <a:ln w="6350" cap="rnd">
                <a:solidFill>
                  <a:schemeClr val="bg1"/>
                </a:solidFill>
                <a:prstDash val="solid"/>
                <a:round/>
              </a:ln>
            </p:spPr>
            <p:txBody>
              <a:bodyPr rtlCol="0" anchor="ctr"/>
              <a:lstStyle/>
              <a:p>
                <a:endParaRPr lang="es-ES"/>
              </a:p>
            </p:txBody>
          </p:sp>
          <p:sp>
            <p:nvSpPr>
              <p:cNvPr id="905" name="Forma libre: forma 49">
                <a:extLst>
                  <a:ext uri="{FF2B5EF4-FFF2-40B4-BE49-F238E27FC236}">
                    <a16:creationId xmlns:a16="http://schemas.microsoft.com/office/drawing/2014/main" id="{89FAAD3C-AE99-D946-B88E-183ADF631DDF}"/>
                  </a:ext>
                </a:extLst>
              </p:cNvPr>
              <p:cNvSpPr/>
              <p:nvPr/>
            </p:nvSpPr>
            <p:spPr>
              <a:xfrm>
                <a:off x="6043707" y="3734180"/>
                <a:ext cx="210312" cy="71151"/>
              </a:xfrm>
              <a:custGeom>
                <a:avLst/>
                <a:gdLst>
                  <a:gd name="connsiteX0" fmla="*/ 210312 w 210312"/>
                  <a:gd name="connsiteY0" fmla="*/ 2096 h 71151"/>
                  <a:gd name="connsiteX1" fmla="*/ 210312 w 210312"/>
                  <a:gd name="connsiteY1" fmla="*/ 69056 h 71151"/>
                  <a:gd name="connsiteX2" fmla="*/ 208217 w 210312"/>
                  <a:gd name="connsiteY2" fmla="*/ 71152 h 71151"/>
                  <a:gd name="connsiteX3" fmla="*/ 2096 w 210312"/>
                  <a:gd name="connsiteY3" fmla="*/ 71152 h 71151"/>
                  <a:gd name="connsiteX4" fmla="*/ 0 w 210312"/>
                  <a:gd name="connsiteY4" fmla="*/ 69056 h 71151"/>
                  <a:gd name="connsiteX5" fmla="*/ 0 w 210312"/>
                  <a:gd name="connsiteY5" fmla="*/ 2096 h 71151"/>
                  <a:gd name="connsiteX6" fmla="*/ 2096 w 210312"/>
                  <a:gd name="connsiteY6" fmla="*/ 0 h 71151"/>
                  <a:gd name="connsiteX7" fmla="*/ 208217 w 210312"/>
                  <a:gd name="connsiteY7" fmla="*/ 0 h 71151"/>
                  <a:gd name="connsiteX8" fmla="*/ 210312 w 210312"/>
                  <a:gd name="connsiteY8" fmla="*/ 2096 h 7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0312" h="71151">
                    <a:moveTo>
                      <a:pt x="210312" y="2096"/>
                    </a:moveTo>
                    <a:lnTo>
                      <a:pt x="210312" y="69056"/>
                    </a:lnTo>
                    <a:cubicBezTo>
                      <a:pt x="210312" y="70294"/>
                      <a:pt x="209360" y="71152"/>
                      <a:pt x="208217" y="71152"/>
                    </a:cubicBezTo>
                    <a:lnTo>
                      <a:pt x="2096" y="71152"/>
                    </a:lnTo>
                    <a:cubicBezTo>
                      <a:pt x="857" y="71152"/>
                      <a:pt x="0" y="70199"/>
                      <a:pt x="0" y="69056"/>
                    </a:cubicBezTo>
                    <a:lnTo>
                      <a:pt x="0" y="2096"/>
                    </a:lnTo>
                    <a:cubicBezTo>
                      <a:pt x="0" y="857"/>
                      <a:pt x="953" y="0"/>
                      <a:pt x="2096" y="0"/>
                    </a:cubicBezTo>
                    <a:lnTo>
                      <a:pt x="208217" y="0"/>
                    </a:lnTo>
                    <a:cubicBezTo>
                      <a:pt x="209360" y="0"/>
                      <a:pt x="210312" y="952"/>
                      <a:pt x="210312" y="2096"/>
                    </a:cubicBezTo>
                    <a:close/>
                  </a:path>
                </a:pathLst>
              </a:custGeom>
              <a:solidFill>
                <a:schemeClr val="bg1"/>
              </a:solidFill>
              <a:ln w="6350" cap="flat">
                <a:solidFill>
                  <a:schemeClr val="bg1"/>
                </a:solidFill>
                <a:prstDash val="solid"/>
                <a:miter/>
              </a:ln>
            </p:spPr>
            <p:txBody>
              <a:bodyPr rtlCol="0" anchor="ctr"/>
              <a:lstStyle/>
              <a:p>
                <a:endParaRPr lang="es-ES"/>
              </a:p>
            </p:txBody>
          </p:sp>
          <p:sp>
            <p:nvSpPr>
              <p:cNvPr id="906" name="Forma libre: forma 50">
                <a:extLst>
                  <a:ext uri="{FF2B5EF4-FFF2-40B4-BE49-F238E27FC236}">
                    <a16:creationId xmlns:a16="http://schemas.microsoft.com/office/drawing/2014/main" id="{56E62FDF-23E4-A541-BC41-638291E4BDAD}"/>
                  </a:ext>
                </a:extLst>
              </p:cNvPr>
              <p:cNvSpPr/>
              <p:nvPr/>
            </p:nvSpPr>
            <p:spPr>
              <a:xfrm>
                <a:off x="6004369" y="3175634"/>
                <a:ext cx="202406" cy="234124"/>
              </a:xfrm>
              <a:custGeom>
                <a:avLst/>
                <a:gdLst>
                  <a:gd name="connsiteX0" fmla="*/ 112490 w 202406"/>
                  <a:gd name="connsiteY0" fmla="*/ 169069 h 234124"/>
                  <a:gd name="connsiteX1" fmla="*/ 112490 w 202406"/>
                  <a:gd name="connsiteY1" fmla="*/ 150400 h 234124"/>
                  <a:gd name="connsiteX2" fmla="*/ 57626 w 202406"/>
                  <a:gd name="connsiteY2" fmla="*/ 150400 h 234124"/>
                  <a:gd name="connsiteX3" fmla="*/ 57626 w 202406"/>
                  <a:gd name="connsiteY3" fmla="*/ 200787 h 234124"/>
                  <a:gd name="connsiteX4" fmla="*/ 0 w 202406"/>
                  <a:gd name="connsiteY4" fmla="*/ 234125 h 234124"/>
                  <a:gd name="connsiteX5" fmla="*/ 0 w 202406"/>
                  <a:gd name="connsiteY5" fmla="*/ 0 h 234124"/>
                  <a:gd name="connsiteX6" fmla="*/ 202406 w 202406"/>
                  <a:gd name="connsiteY6" fmla="*/ 117158 h 234124"/>
                  <a:gd name="connsiteX7" fmla="*/ 112490 w 202406"/>
                  <a:gd name="connsiteY7" fmla="*/ 169069 h 234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2406" h="234124">
                    <a:moveTo>
                      <a:pt x="112490" y="169069"/>
                    </a:moveTo>
                    <a:cubicBezTo>
                      <a:pt x="112490" y="157639"/>
                      <a:pt x="112490" y="150400"/>
                      <a:pt x="112490" y="150400"/>
                    </a:cubicBezTo>
                    <a:cubicBezTo>
                      <a:pt x="112490" y="120301"/>
                      <a:pt x="57626" y="120301"/>
                      <a:pt x="57626" y="150400"/>
                    </a:cubicBezTo>
                    <a:lnTo>
                      <a:pt x="57626" y="200787"/>
                    </a:lnTo>
                    <a:lnTo>
                      <a:pt x="0" y="234125"/>
                    </a:lnTo>
                    <a:lnTo>
                      <a:pt x="0" y="0"/>
                    </a:lnTo>
                    <a:lnTo>
                      <a:pt x="202406" y="117158"/>
                    </a:lnTo>
                    <a:lnTo>
                      <a:pt x="112490" y="169069"/>
                    </a:lnTo>
                    <a:close/>
                  </a:path>
                </a:pathLst>
              </a:custGeom>
              <a:solidFill>
                <a:schemeClr val="bg1"/>
              </a:solidFill>
              <a:ln w="6350" cap="rnd">
                <a:solidFill>
                  <a:schemeClr val="bg1"/>
                </a:solidFill>
                <a:prstDash val="solid"/>
                <a:round/>
              </a:ln>
            </p:spPr>
            <p:txBody>
              <a:bodyPr rtlCol="0" anchor="ctr"/>
              <a:lstStyle/>
              <a:p>
                <a:endParaRPr lang="es-ES"/>
              </a:p>
            </p:txBody>
          </p:sp>
        </p:grpSp>
      </p:grpSp>
      <p:grpSp>
        <p:nvGrpSpPr>
          <p:cNvPr id="16" name="Grupo 15">
            <a:extLst>
              <a:ext uri="{FF2B5EF4-FFF2-40B4-BE49-F238E27FC236}">
                <a16:creationId xmlns:a16="http://schemas.microsoft.com/office/drawing/2014/main" id="{C42D6E91-C1A6-4851-A66A-2803EDB5753C}"/>
              </a:ext>
            </a:extLst>
          </p:cNvPr>
          <p:cNvGrpSpPr/>
          <p:nvPr/>
        </p:nvGrpSpPr>
        <p:grpSpPr>
          <a:xfrm>
            <a:off x="87411" y="2548302"/>
            <a:ext cx="1859248" cy="2001974"/>
            <a:chOff x="3558929" y="3859773"/>
            <a:chExt cx="1859248" cy="2001974"/>
          </a:xfrm>
        </p:grpSpPr>
        <p:sp>
          <p:nvSpPr>
            <p:cNvPr id="830" name="Forma libre 829">
              <a:extLst>
                <a:ext uri="{FF2B5EF4-FFF2-40B4-BE49-F238E27FC236}">
                  <a16:creationId xmlns:a16="http://schemas.microsoft.com/office/drawing/2014/main" id="{0C763276-4C49-4E49-BA1A-D8035E479E61}"/>
                </a:ext>
              </a:extLst>
            </p:cNvPr>
            <p:cNvSpPr/>
            <p:nvPr/>
          </p:nvSpPr>
          <p:spPr>
            <a:xfrm>
              <a:off x="3558929" y="3952940"/>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31" name="Forma libre 830">
              <a:extLst>
                <a:ext uri="{FF2B5EF4-FFF2-40B4-BE49-F238E27FC236}">
                  <a16:creationId xmlns:a16="http://schemas.microsoft.com/office/drawing/2014/main" id="{69DAF102-FC4D-9748-91ED-56456546749E}"/>
                </a:ext>
              </a:extLst>
            </p:cNvPr>
            <p:cNvSpPr/>
            <p:nvPr/>
          </p:nvSpPr>
          <p:spPr>
            <a:xfrm>
              <a:off x="3632359" y="4026327"/>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accent4"/>
            </a:solidFill>
            <a:ln w="3430" cap="flat">
              <a:noFill/>
              <a:prstDash val="solid"/>
              <a:miter/>
            </a:ln>
          </p:spPr>
          <p:txBody>
            <a:bodyPr rtlCol="0" anchor="ctr"/>
            <a:lstStyle/>
            <a:p>
              <a:endParaRPr lang="es-ES"/>
            </a:p>
          </p:txBody>
        </p:sp>
        <p:sp>
          <p:nvSpPr>
            <p:cNvPr id="833" name="Forma libre 832">
              <a:extLst>
                <a:ext uri="{FF2B5EF4-FFF2-40B4-BE49-F238E27FC236}">
                  <a16:creationId xmlns:a16="http://schemas.microsoft.com/office/drawing/2014/main" id="{16DBE8B9-E792-4B4A-9792-3C7A49418862}"/>
                </a:ext>
              </a:extLst>
            </p:cNvPr>
            <p:cNvSpPr/>
            <p:nvPr/>
          </p:nvSpPr>
          <p:spPr>
            <a:xfrm>
              <a:off x="4111905" y="3859773"/>
              <a:ext cx="1306272" cy="1951771"/>
            </a:xfrm>
            <a:custGeom>
              <a:avLst/>
              <a:gdLst>
                <a:gd name="connsiteX0" fmla="*/ 734900 w 1530265"/>
                <a:gd name="connsiteY0" fmla="*/ -290 h 2286450"/>
                <a:gd name="connsiteX1" fmla="*/ 1529598 w 1530265"/>
                <a:gd name="connsiteY1" fmla="*/ 1111399 h 2286450"/>
                <a:gd name="connsiteX2" fmla="*/ 354152 w 1530265"/>
                <a:gd name="connsiteY2" fmla="*/ 2286160 h 2286450"/>
                <a:gd name="connsiteX3" fmla="*/ -667 w 1530265"/>
                <a:gd name="connsiteY3" fmla="*/ 2231623 h 2286450"/>
              </a:gdLst>
              <a:ahLst/>
              <a:cxnLst>
                <a:cxn ang="0">
                  <a:pos x="connsiteX0" y="connsiteY0"/>
                </a:cxn>
                <a:cxn ang="0">
                  <a:pos x="connsiteX1" y="connsiteY1"/>
                </a:cxn>
                <a:cxn ang="0">
                  <a:pos x="connsiteX2" y="connsiteY2"/>
                </a:cxn>
                <a:cxn ang="0">
                  <a:pos x="connsiteX3" y="connsiteY3"/>
                </a:cxn>
              </a:cxnLst>
              <a:rect l="l" t="t" r="r" b="b"/>
              <a:pathLst>
                <a:path w="1530265" h="2286450">
                  <a:moveTo>
                    <a:pt x="734900" y="-290"/>
                  </a:moveTo>
                  <a:cubicBezTo>
                    <a:pt x="1197211" y="157803"/>
                    <a:pt x="1529598" y="595815"/>
                    <a:pt x="1529598" y="1111399"/>
                  </a:cubicBezTo>
                  <a:cubicBezTo>
                    <a:pt x="1529598" y="1760224"/>
                    <a:pt x="1003321" y="2286160"/>
                    <a:pt x="354152" y="2286160"/>
                  </a:cubicBezTo>
                  <a:cubicBezTo>
                    <a:pt x="233781" y="2286270"/>
                    <a:pt x="114110" y="2267876"/>
                    <a:pt x="-667" y="2231623"/>
                  </a:cubicBezTo>
                  <a:close/>
                </a:path>
              </a:pathLst>
            </a:custGeom>
            <a:solidFill>
              <a:srgbClr val="000000">
                <a:alpha val="10000"/>
              </a:srgbClr>
            </a:solidFill>
            <a:ln w="3430" cap="flat">
              <a:noFill/>
              <a:prstDash val="solid"/>
              <a:miter/>
            </a:ln>
          </p:spPr>
          <p:txBody>
            <a:bodyPr rtlCol="0" anchor="ctr"/>
            <a:lstStyle/>
            <a:p>
              <a:endParaRPr lang="es-ES"/>
            </a:p>
          </p:txBody>
        </p:sp>
        <p:sp>
          <p:nvSpPr>
            <p:cNvPr id="834" name="Rectángulo 833">
              <a:extLst>
                <a:ext uri="{FF2B5EF4-FFF2-40B4-BE49-F238E27FC236}">
                  <a16:creationId xmlns:a16="http://schemas.microsoft.com/office/drawing/2014/main" id="{5E5902A5-E243-A04A-A567-A637337444DD}"/>
                </a:ext>
              </a:extLst>
            </p:cNvPr>
            <p:cNvSpPr/>
            <p:nvPr/>
          </p:nvSpPr>
          <p:spPr>
            <a:xfrm>
              <a:off x="3784085" y="4236968"/>
              <a:ext cx="1454217" cy="1426031"/>
            </a:xfrm>
            <a:prstGeom prst="rect">
              <a:avLst/>
            </a:prstGeom>
          </p:spPr>
          <p:txBody>
            <a:bodyPr wrap="square">
              <a:spAutoFit/>
            </a:bodyPr>
            <a:lstStyle/>
            <a:p>
              <a:pPr>
                <a:lnSpc>
                  <a:spcPts val="1400"/>
                </a:lnSpc>
                <a:spcAft>
                  <a:spcPts val="600"/>
                </a:spcAft>
                <a:defRPr/>
              </a:pPr>
              <a:r>
                <a:rPr lang="es-ES" sz="1600" b="1">
                  <a:solidFill>
                    <a:schemeClr val="bg1"/>
                  </a:solidFill>
                </a:rPr>
                <a:t>Dar cumplimiento</a:t>
              </a:r>
              <a:r>
                <a:rPr lang="es-ES" sz="1200" b="1">
                  <a:solidFill>
                    <a:schemeClr val="bg1"/>
                  </a:solidFill>
                </a:rPr>
                <a:t> </a:t>
              </a:r>
              <a:r>
                <a:rPr lang="es-ES" sz="1400">
                  <a:solidFill>
                    <a:schemeClr val="bg1"/>
                  </a:solidFill>
                </a:rPr>
                <a:t>al principio de publicidad de actuaciones judiciales.</a:t>
              </a:r>
            </a:p>
            <a:p>
              <a:pPr>
                <a:lnSpc>
                  <a:spcPts val="1400"/>
                </a:lnSpc>
                <a:spcAft>
                  <a:spcPts val="600"/>
                </a:spcAft>
                <a:defRPr/>
              </a:pPr>
              <a:endParaRPr lang="es-ES" sz="1200">
                <a:solidFill>
                  <a:schemeClr val="bg1"/>
                </a:solidFill>
              </a:endParaRPr>
            </a:p>
          </p:txBody>
        </p:sp>
        <p:grpSp>
          <p:nvGrpSpPr>
            <p:cNvPr id="851" name="Grupo 850">
              <a:extLst>
                <a:ext uri="{FF2B5EF4-FFF2-40B4-BE49-F238E27FC236}">
                  <a16:creationId xmlns:a16="http://schemas.microsoft.com/office/drawing/2014/main" id="{22610818-B645-B348-B2A4-D4ACD93DC3E5}"/>
                </a:ext>
              </a:extLst>
            </p:cNvPr>
            <p:cNvGrpSpPr/>
            <p:nvPr/>
          </p:nvGrpSpPr>
          <p:grpSpPr>
            <a:xfrm>
              <a:off x="4627755" y="5213130"/>
              <a:ext cx="648995" cy="648617"/>
              <a:chOff x="2010682" y="4078481"/>
              <a:chExt cx="1712476" cy="1711479"/>
            </a:xfrm>
          </p:grpSpPr>
          <p:sp>
            <p:nvSpPr>
              <p:cNvPr id="852" name="Forma libre 851">
                <a:extLst>
                  <a:ext uri="{FF2B5EF4-FFF2-40B4-BE49-F238E27FC236}">
                    <a16:creationId xmlns:a16="http://schemas.microsoft.com/office/drawing/2014/main" id="{6715F8AB-232B-A340-B4DE-4ED1FF0F6550}"/>
                  </a:ext>
                </a:extLst>
              </p:cNvPr>
              <p:cNvSpPr/>
              <p:nvPr/>
            </p:nvSpPr>
            <p:spPr>
              <a:xfrm>
                <a:off x="2010682" y="4078481"/>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53" name="Forma libre 852">
                <a:extLst>
                  <a:ext uri="{FF2B5EF4-FFF2-40B4-BE49-F238E27FC236}">
                    <a16:creationId xmlns:a16="http://schemas.microsoft.com/office/drawing/2014/main" id="{F3341490-DFF3-B34F-B1D2-2E93F46D4D4C}"/>
                  </a:ext>
                </a:extLst>
              </p:cNvPr>
              <p:cNvSpPr/>
              <p:nvPr/>
            </p:nvSpPr>
            <p:spPr>
              <a:xfrm>
                <a:off x="2084112" y="4151868"/>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accent4"/>
              </a:solidFill>
              <a:ln w="3430" cap="flat">
                <a:noFill/>
                <a:prstDash val="solid"/>
                <a:miter/>
              </a:ln>
            </p:spPr>
            <p:txBody>
              <a:bodyPr rtlCol="0" anchor="ctr"/>
              <a:lstStyle/>
              <a:p>
                <a:endParaRPr lang="es-ES"/>
              </a:p>
            </p:txBody>
          </p:sp>
        </p:grpSp>
        <p:grpSp>
          <p:nvGrpSpPr>
            <p:cNvPr id="907" name="Grupo 906">
              <a:extLst>
                <a:ext uri="{FF2B5EF4-FFF2-40B4-BE49-F238E27FC236}">
                  <a16:creationId xmlns:a16="http://schemas.microsoft.com/office/drawing/2014/main" id="{CE7C041C-78C1-9444-8905-DDABBDFA9D54}"/>
                </a:ext>
              </a:extLst>
            </p:cNvPr>
            <p:cNvGrpSpPr/>
            <p:nvPr/>
          </p:nvGrpSpPr>
          <p:grpSpPr>
            <a:xfrm>
              <a:off x="4786454" y="5309600"/>
              <a:ext cx="324653" cy="425672"/>
              <a:chOff x="9522573" y="2281558"/>
              <a:chExt cx="675258" cy="885374"/>
            </a:xfrm>
            <a:solidFill>
              <a:schemeClr val="bg1"/>
            </a:solidFill>
          </p:grpSpPr>
          <p:sp>
            <p:nvSpPr>
              <p:cNvPr id="908" name="Forma libre: forma 683">
                <a:extLst>
                  <a:ext uri="{FF2B5EF4-FFF2-40B4-BE49-F238E27FC236}">
                    <a16:creationId xmlns:a16="http://schemas.microsoft.com/office/drawing/2014/main" id="{9851A1A0-5418-8644-A336-9F2BE78A94A4}"/>
                  </a:ext>
                </a:extLst>
              </p:cNvPr>
              <p:cNvSpPr/>
              <p:nvPr/>
            </p:nvSpPr>
            <p:spPr>
              <a:xfrm>
                <a:off x="9522573" y="2281558"/>
                <a:ext cx="675258" cy="885374"/>
              </a:xfrm>
              <a:custGeom>
                <a:avLst/>
                <a:gdLst>
                  <a:gd name="connsiteX0" fmla="*/ 290313 w 675258"/>
                  <a:gd name="connsiteY0" fmla="*/ 0 h 885374"/>
                  <a:gd name="connsiteX1" fmla="*/ 163120 w 675258"/>
                  <a:gd name="connsiteY1" fmla="*/ 0 h 885374"/>
                  <a:gd name="connsiteX2" fmla="*/ 152695 w 675258"/>
                  <a:gd name="connsiteY2" fmla="*/ 10426 h 885374"/>
                  <a:gd name="connsiteX3" fmla="*/ 152695 w 675258"/>
                  <a:gd name="connsiteY3" fmla="*/ 35928 h 885374"/>
                  <a:gd name="connsiteX4" fmla="*/ 10426 w 675258"/>
                  <a:gd name="connsiteY4" fmla="*/ 35928 h 885374"/>
                  <a:gd name="connsiteX5" fmla="*/ 0 w 675258"/>
                  <a:gd name="connsiteY5" fmla="*/ 46354 h 885374"/>
                  <a:gd name="connsiteX6" fmla="*/ 0 w 675258"/>
                  <a:gd name="connsiteY6" fmla="*/ 820254 h 885374"/>
                  <a:gd name="connsiteX7" fmla="*/ 65280 w 675258"/>
                  <a:gd name="connsiteY7" fmla="*/ 885534 h 885374"/>
                  <a:gd name="connsiteX8" fmla="*/ 665635 w 675258"/>
                  <a:gd name="connsiteY8" fmla="*/ 885534 h 885374"/>
                  <a:gd name="connsiteX9" fmla="*/ 676060 w 675258"/>
                  <a:gd name="connsiteY9" fmla="*/ 875109 h 885374"/>
                  <a:gd name="connsiteX10" fmla="*/ 676060 w 675258"/>
                  <a:gd name="connsiteY10" fmla="*/ 46193 h 885374"/>
                  <a:gd name="connsiteX11" fmla="*/ 665635 w 675258"/>
                  <a:gd name="connsiteY11" fmla="*/ 35768 h 885374"/>
                  <a:gd name="connsiteX12" fmla="*/ 300739 w 675258"/>
                  <a:gd name="connsiteY12" fmla="*/ 35768 h 885374"/>
                  <a:gd name="connsiteX13" fmla="*/ 300739 w 675258"/>
                  <a:gd name="connsiteY13" fmla="*/ 10265 h 885374"/>
                  <a:gd name="connsiteX14" fmla="*/ 290313 w 675258"/>
                  <a:gd name="connsiteY14" fmla="*/ 0 h 885374"/>
                  <a:gd name="connsiteX15" fmla="*/ 279887 w 675258"/>
                  <a:gd name="connsiteY15" fmla="*/ 130400 h 885374"/>
                  <a:gd name="connsiteX16" fmla="*/ 234496 w 675258"/>
                  <a:gd name="connsiteY16" fmla="*/ 102171 h 885374"/>
                  <a:gd name="connsiteX17" fmla="*/ 223749 w 675258"/>
                  <a:gd name="connsiteY17" fmla="*/ 102010 h 885374"/>
                  <a:gd name="connsiteX18" fmla="*/ 173225 w 675258"/>
                  <a:gd name="connsiteY18" fmla="*/ 131202 h 885374"/>
                  <a:gd name="connsiteX19" fmla="*/ 173225 w 675258"/>
                  <a:gd name="connsiteY19" fmla="*/ 21012 h 885374"/>
                  <a:gd name="connsiteX20" fmla="*/ 279727 w 675258"/>
                  <a:gd name="connsiteY20" fmla="*/ 21012 h 885374"/>
                  <a:gd name="connsiteX21" fmla="*/ 279727 w 675258"/>
                  <a:gd name="connsiteY21" fmla="*/ 130400 h 885374"/>
                  <a:gd name="connsiteX22" fmla="*/ 655370 w 675258"/>
                  <a:gd name="connsiteY22" fmla="*/ 864844 h 885374"/>
                  <a:gd name="connsiteX23" fmla="*/ 65441 w 675258"/>
                  <a:gd name="connsiteY23" fmla="*/ 864844 h 885374"/>
                  <a:gd name="connsiteX24" fmla="*/ 20851 w 675258"/>
                  <a:gd name="connsiteY24" fmla="*/ 820254 h 885374"/>
                  <a:gd name="connsiteX25" fmla="*/ 65441 w 675258"/>
                  <a:gd name="connsiteY25" fmla="*/ 775665 h 885374"/>
                  <a:gd name="connsiteX26" fmla="*/ 655370 w 675258"/>
                  <a:gd name="connsiteY26" fmla="*/ 775665 h 885374"/>
                  <a:gd name="connsiteX27" fmla="*/ 655370 w 675258"/>
                  <a:gd name="connsiteY27" fmla="*/ 864844 h 885374"/>
                  <a:gd name="connsiteX28" fmla="*/ 655370 w 675258"/>
                  <a:gd name="connsiteY28" fmla="*/ 56779 h 885374"/>
                  <a:gd name="connsiteX29" fmla="*/ 655370 w 675258"/>
                  <a:gd name="connsiteY29" fmla="*/ 754974 h 885374"/>
                  <a:gd name="connsiteX30" fmla="*/ 65441 w 675258"/>
                  <a:gd name="connsiteY30" fmla="*/ 754974 h 885374"/>
                  <a:gd name="connsiteX31" fmla="*/ 20851 w 675258"/>
                  <a:gd name="connsiteY31" fmla="*/ 772617 h 885374"/>
                  <a:gd name="connsiteX32" fmla="*/ 20851 w 675258"/>
                  <a:gd name="connsiteY32" fmla="*/ 56619 h 885374"/>
                  <a:gd name="connsiteX33" fmla="*/ 152695 w 675258"/>
                  <a:gd name="connsiteY33" fmla="*/ 56619 h 885374"/>
                  <a:gd name="connsiteX34" fmla="*/ 152695 w 675258"/>
                  <a:gd name="connsiteY34" fmla="*/ 149006 h 885374"/>
                  <a:gd name="connsiteX35" fmla="*/ 168253 w 675258"/>
                  <a:gd name="connsiteY35" fmla="*/ 157988 h 885374"/>
                  <a:gd name="connsiteX36" fmla="*/ 228882 w 675258"/>
                  <a:gd name="connsiteY36" fmla="*/ 122862 h 885374"/>
                  <a:gd name="connsiteX37" fmla="*/ 284860 w 675258"/>
                  <a:gd name="connsiteY37" fmla="*/ 157828 h 885374"/>
                  <a:gd name="connsiteX38" fmla="*/ 300739 w 675258"/>
                  <a:gd name="connsiteY38" fmla="*/ 149006 h 885374"/>
                  <a:gd name="connsiteX39" fmla="*/ 300739 w 675258"/>
                  <a:gd name="connsiteY39" fmla="*/ 56619 h 885374"/>
                  <a:gd name="connsiteX40" fmla="*/ 655370 w 675258"/>
                  <a:gd name="connsiteY40" fmla="*/ 56619 h 88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75258" h="885374">
                    <a:moveTo>
                      <a:pt x="290313" y="0"/>
                    </a:moveTo>
                    <a:lnTo>
                      <a:pt x="163120" y="0"/>
                    </a:lnTo>
                    <a:cubicBezTo>
                      <a:pt x="157347" y="0"/>
                      <a:pt x="152695" y="4651"/>
                      <a:pt x="152695" y="10426"/>
                    </a:cubicBezTo>
                    <a:lnTo>
                      <a:pt x="152695" y="35928"/>
                    </a:lnTo>
                    <a:lnTo>
                      <a:pt x="10426" y="35928"/>
                    </a:lnTo>
                    <a:cubicBezTo>
                      <a:pt x="4651" y="35928"/>
                      <a:pt x="0" y="40580"/>
                      <a:pt x="0" y="46354"/>
                    </a:cubicBezTo>
                    <a:lnTo>
                      <a:pt x="0" y="820254"/>
                    </a:lnTo>
                    <a:cubicBezTo>
                      <a:pt x="0" y="856182"/>
                      <a:pt x="29352" y="885534"/>
                      <a:pt x="65280" y="885534"/>
                    </a:cubicBezTo>
                    <a:lnTo>
                      <a:pt x="665635" y="885534"/>
                    </a:lnTo>
                    <a:cubicBezTo>
                      <a:pt x="671409" y="885534"/>
                      <a:pt x="676060" y="880883"/>
                      <a:pt x="676060" y="875109"/>
                    </a:cubicBezTo>
                    <a:cubicBezTo>
                      <a:pt x="676060" y="847040"/>
                      <a:pt x="676060" y="74423"/>
                      <a:pt x="676060" y="46193"/>
                    </a:cubicBezTo>
                    <a:cubicBezTo>
                      <a:pt x="676060" y="40419"/>
                      <a:pt x="671409" y="35768"/>
                      <a:pt x="665635" y="35768"/>
                    </a:cubicBezTo>
                    <a:lnTo>
                      <a:pt x="300739" y="35768"/>
                    </a:lnTo>
                    <a:lnTo>
                      <a:pt x="300739" y="10265"/>
                    </a:lnTo>
                    <a:cubicBezTo>
                      <a:pt x="300739" y="4651"/>
                      <a:pt x="296087" y="0"/>
                      <a:pt x="290313" y="0"/>
                    </a:cubicBezTo>
                    <a:close/>
                    <a:moveTo>
                      <a:pt x="279887" y="130400"/>
                    </a:moveTo>
                    <a:lnTo>
                      <a:pt x="234496" y="102171"/>
                    </a:lnTo>
                    <a:cubicBezTo>
                      <a:pt x="231288" y="100086"/>
                      <a:pt x="227118" y="100086"/>
                      <a:pt x="223749" y="102010"/>
                    </a:cubicBezTo>
                    <a:lnTo>
                      <a:pt x="173225" y="131202"/>
                    </a:lnTo>
                    <a:lnTo>
                      <a:pt x="173225" y="21012"/>
                    </a:lnTo>
                    <a:lnTo>
                      <a:pt x="279727" y="21012"/>
                    </a:lnTo>
                    <a:lnTo>
                      <a:pt x="279727" y="130400"/>
                    </a:lnTo>
                    <a:close/>
                    <a:moveTo>
                      <a:pt x="655370" y="864844"/>
                    </a:moveTo>
                    <a:lnTo>
                      <a:pt x="65441" y="864844"/>
                    </a:lnTo>
                    <a:cubicBezTo>
                      <a:pt x="40900" y="864844"/>
                      <a:pt x="20851" y="844794"/>
                      <a:pt x="20851" y="820254"/>
                    </a:cubicBezTo>
                    <a:cubicBezTo>
                      <a:pt x="20851" y="795714"/>
                      <a:pt x="40900" y="775665"/>
                      <a:pt x="65441" y="775665"/>
                    </a:cubicBezTo>
                    <a:lnTo>
                      <a:pt x="655370" y="775665"/>
                    </a:lnTo>
                    <a:cubicBezTo>
                      <a:pt x="655370" y="811272"/>
                      <a:pt x="655370" y="785930"/>
                      <a:pt x="655370" y="864844"/>
                    </a:cubicBezTo>
                    <a:close/>
                    <a:moveTo>
                      <a:pt x="655370" y="56779"/>
                    </a:moveTo>
                    <a:lnTo>
                      <a:pt x="655370" y="754974"/>
                    </a:lnTo>
                    <a:lnTo>
                      <a:pt x="65441" y="754974"/>
                    </a:lnTo>
                    <a:cubicBezTo>
                      <a:pt x="48279" y="754974"/>
                      <a:pt x="32560" y="761711"/>
                      <a:pt x="20851" y="772617"/>
                    </a:cubicBezTo>
                    <a:lnTo>
                      <a:pt x="20851" y="56619"/>
                    </a:lnTo>
                    <a:lnTo>
                      <a:pt x="152695" y="56619"/>
                    </a:lnTo>
                    <a:lnTo>
                      <a:pt x="152695" y="149006"/>
                    </a:lnTo>
                    <a:cubicBezTo>
                      <a:pt x="152695" y="157026"/>
                      <a:pt x="161356" y="161998"/>
                      <a:pt x="168253" y="157988"/>
                    </a:cubicBezTo>
                    <a:lnTo>
                      <a:pt x="228882" y="122862"/>
                    </a:lnTo>
                    <a:lnTo>
                      <a:pt x="284860" y="157828"/>
                    </a:lnTo>
                    <a:cubicBezTo>
                      <a:pt x="291756" y="162158"/>
                      <a:pt x="300739" y="157186"/>
                      <a:pt x="300739" y="149006"/>
                    </a:cubicBezTo>
                    <a:cubicBezTo>
                      <a:pt x="300739" y="147241"/>
                      <a:pt x="300739" y="58383"/>
                      <a:pt x="300739" y="56619"/>
                    </a:cubicBezTo>
                    <a:lnTo>
                      <a:pt x="655370" y="56619"/>
                    </a:lnTo>
                    <a:close/>
                  </a:path>
                </a:pathLst>
              </a:custGeom>
              <a:grpFill/>
              <a:ln w="1602" cap="flat">
                <a:noFill/>
                <a:prstDash val="solid"/>
                <a:miter/>
              </a:ln>
            </p:spPr>
            <p:txBody>
              <a:bodyPr rtlCol="0" anchor="ctr"/>
              <a:lstStyle/>
              <a:p>
                <a:endParaRPr lang="es-ES"/>
              </a:p>
            </p:txBody>
          </p:sp>
          <p:sp>
            <p:nvSpPr>
              <p:cNvPr id="909" name="Forma libre: forma 684">
                <a:extLst>
                  <a:ext uri="{FF2B5EF4-FFF2-40B4-BE49-F238E27FC236}">
                    <a16:creationId xmlns:a16="http://schemas.microsoft.com/office/drawing/2014/main" id="{9EDF1D95-78B8-CB41-8F82-75886FADFC3F}"/>
                  </a:ext>
                </a:extLst>
              </p:cNvPr>
              <p:cNvSpPr/>
              <p:nvPr/>
            </p:nvSpPr>
            <p:spPr>
              <a:xfrm>
                <a:off x="9572295" y="2349244"/>
                <a:ext cx="20851" cy="664031"/>
              </a:xfrm>
              <a:custGeom>
                <a:avLst/>
                <a:gdLst>
                  <a:gd name="connsiteX0" fmla="*/ 10426 w 20851"/>
                  <a:gd name="connsiteY0" fmla="*/ 0 h 664030"/>
                  <a:gd name="connsiteX1" fmla="*/ 0 w 20851"/>
                  <a:gd name="connsiteY1" fmla="*/ 10426 h 664030"/>
                  <a:gd name="connsiteX2" fmla="*/ 0 w 20851"/>
                  <a:gd name="connsiteY2" fmla="*/ 654086 h 664030"/>
                  <a:gd name="connsiteX3" fmla="*/ 10426 w 20851"/>
                  <a:gd name="connsiteY3" fmla="*/ 664512 h 664030"/>
                  <a:gd name="connsiteX4" fmla="*/ 20851 w 20851"/>
                  <a:gd name="connsiteY4" fmla="*/ 654086 h 664030"/>
                  <a:gd name="connsiteX5" fmla="*/ 20851 w 20851"/>
                  <a:gd name="connsiteY5" fmla="*/ 10265 h 664030"/>
                  <a:gd name="connsiteX6" fmla="*/ 10426 w 20851"/>
                  <a:gd name="connsiteY6" fmla="*/ 0 h 66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51" h="664030">
                    <a:moveTo>
                      <a:pt x="10426" y="0"/>
                    </a:moveTo>
                    <a:cubicBezTo>
                      <a:pt x="4651" y="0"/>
                      <a:pt x="0" y="4651"/>
                      <a:pt x="0" y="10426"/>
                    </a:cubicBezTo>
                    <a:lnTo>
                      <a:pt x="0" y="654086"/>
                    </a:lnTo>
                    <a:cubicBezTo>
                      <a:pt x="0" y="659860"/>
                      <a:pt x="4651" y="664512"/>
                      <a:pt x="10426" y="664512"/>
                    </a:cubicBezTo>
                    <a:cubicBezTo>
                      <a:pt x="16200" y="664512"/>
                      <a:pt x="20851" y="659860"/>
                      <a:pt x="20851" y="654086"/>
                    </a:cubicBezTo>
                    <a:lnTo>
                      <a:pt x="20851" y="10265"/>
                    </a:lnTo>
                    <a:cubicBezTo>
                      <a:pt x="20691" y="4651"/>
                      <a:pt x="16039" y="0"/>
                      <a:pt x="10426" y="0"/>
                    </a:cubicBezTo>
                    <a:close/>
                  </a:path>
                </a:pathLst>
              </a:custGeom>
              <a:grpFill/>
              <a:ln w="1602" cap="flat">
                <a:noFill/>
                <a:prstDash val="solid"/>
                <a:miter/>
              </a:ln>
            </p:spPr>
            <p:txBody>
              <a:bodyPr rtlCol="0" anchor="ctr"/>
              <a:lstStyle/>
              <a:p>
                <a:endParaRPr lang="es-ES"/>
              </a:p>
            </p:txBody>
          </p:sp>
          <p:sp>
            <p:nvSpPr>
              <p:cNvPr id="910" name="Forma libre: forma 685">
                <a:extLst>
                  <a:ext uri="{FF2B5EF4-FFF2-40B4-BE49-F238E27FC236}">
                    <a16:creationId xmlns:a16="http://schemas.microsoft.com/office/drawing/2014/main" id="{CDE00F54-15FD-AC44-A492-6B7D1D0462F2}"/>
                  </a:ext>
                </a:extLst>
              </p:cNvPr>
              <p:cNvSpPr/>
              <p:nvPr/>
            </p:nvSpPr>
            <p:spPr>
              <a:xfrm>
                <a:off x="9722424" y="2443556"/>
                <a:ext cx="304748" cy="489201"/>
              </a:xfrm>
              <a:custGeom>
                <a:avLst/>
                <a:gdLst>
                  <a:gd name="connsiteX0" fmla="*/ 58383 w 304748"/>
                  <a:gd name="connsiteY0" fmla="*/ 78753 h 489201"/>
                  <a:gd name="connsiteX1" fmla="*/ 58383 w 304748"/>
                  <a:gd name="connsiteY1" fmla="*/ 186538 h 489201"/>
                  <a:gd name="connsiteX2" fmla="*/ 39617 w 304748"/>
                  <a:gd name="connsiteY2" fmla="*/ 180924 h 489201"/>
                  <a:gd name="connsiteX3" fmla="*/ 0 w 304748"/>
                  <a:gd name="connsiteY3" fmla="*/ 227278 h 489201"/>
                  <a:gd name="connsiteX4" fmla="*/ 0 w 304748"/>
                  <a:gd name="connsiteY4" fmla="*/ 317901 h 489201"/>
                  <a:gd name="connsiteX5" fmla="*/ 141147 w 304748"/>
                  <a:gd name="connsiteY5" fmla="*/ 489201 h 489201"/>
                  <a:gd name="connsiteX6" fmla="*/ 208833 w 304748"/>
                  <a:gd name="connsiteY6" fmla="*/ 489201 h 489201"/>
                  <a:gd name="connsiteX7" fmla="*/ 306031 w 304748"/>
                  <a:gd name="connsiteY7" fmla="*/ 372114 h 489201"/>
                  <a:gd name="connsiteX8" fmla="*/ 306031 w 304748"/>
                  <a:gd name="connsiteY8" fmla="*/ 114842 h 489201"/>
                  <a:gd name="connsiteX9" fmla="*/ 267377 w 304748"/>
                  <a:gd name="connsiteY9" fmla="*/ 68488 h 489201"/>
                  <a:gd name="connsiteX10" fmla="*/ 249412 w 304748"/>
                  <a:gd name="connsiteY10" fmla="*/ 73781 h 489201"/>
                  <a:gd name="connsiteX11" fmla="*/ 249412 w 304748"/>
                  <a:gd name="connsiteY11" fmla="*/ 58223 h 489201"/>
                  <a:gd name="connsiteX12" fmla="*/ 210757 w 304748"/>
                  <a:gd name="connsiteY12" fmla="*/ 11869 h 489201"/>
                  <a:gd name="connsiteX13" fmla="*/ 186859 w 304748"/>
                  <a:gd name="connsiteY13" fmla="*/ 21814 h 489201"/>
                  <a:gd name="connsiteX14" fmla="*/ 154138 w 304748"/>
                  <a:gd name="connsiteY14" fmla="*/ 0 h 489201"/>
                  <a:gd name="connsiteX15" fmla="*/ 116125 w 304748"/>
                  <a:gd name="connsiteY15" fmla="*/ 38013 h 489201"/>
                  <a:gd name="connsiteX16" fmla="*/ 97519 w 304748"/>
                  <a:gd name="connsiteY16" fmla="*/ 32239 h 489201"/>
                  <a:gd name="connsiteX17" fmla="*/ 58383 w 304748"/>
                  <a:gd name="connsiteY17" fmla="*/ 78753 h 489201"/>
                  <a:gd name="connsiteX18" fmla="*/ 115002 w 304748"/>
                  <a:gd name="connsiteY18" fmla="*/ 78753 h 489201"/>
                  <a:gd name="connsiteX19" fmla="*/ 115002 w 304748"/>
                  <a:gd name="connsiteY19" fmla="*/ 207068 h 489201"/>
                  <a:gd name="connsiteX20" fmla="*/ 125428 w 304748"/>
                  <a:gd name="connsiteY20" fmla="*/ 217494 h 489201"/>
                  <a:gd name="connsiteX21" fmla="*/ 135854 w 304748"/>
                  <a:gd name="connsiteY21" fmla="*/ 207068 h 489201"/>
                  <a:gd name="connsiteX22" fmla="*/ 135854 w 304748"/>
                  <a:gd name="connsiteY22" fmla="*/ 78753 h 489201"/>
                  <a:gd name="connsiteX23" fmla="*/ 135854 w 304748"/>
                  <a:gd name="connsiteY23" fmla="*/ 46354 h 489201"/>
                  <a:gd name="connsiteX24" fmla="*/ 153818 w 304748"/>
                  <a:gd name="connsiteY24" fmla="*/ 20851 h 489201"/>
                  <a:gd name="connsiteX25" fmla="*/ 171782 w 304748"/>
                  <a:gd name="connsiteY25" fmla="*/ 46354 h 489201"/>
                  <a:gd name="connsiteX26" fmla="*/ 171782 w 304748"/>
                  <a:gd name="connsiteY26" fmla="*/ 186538 h 489201"/>
                  <a:gd name="connsiteX27" fmla="*/ 182207 w 304748"/>
                  <a:gd name="connsiteY27" fmla="*/ 196964 h 489201"/>
                  <a:gd name="connsiteX28" fmla="*/ 192633 w 304748"/>
                  <a:gd name="connsiteY28" fmla="*/ 186538 h 489201"/>
                  <a:gd name="connsiteX29" fmla="*/ 192633 w 304748"/>
                  <a:gd name="connsiteY29" fmla="*/ 58223 h 489201"/>
                  <a:gd name="connsiteX30" fmla="*/ 210597 w 304748"/>
                  <a:gd name="connsiteY30" fmla="*/ 32720 h 489201"/>
                  <a:gd name="connsiteX31" fmla="*/ 228561 w 304748"/>
                  <a:gd name="connsiteY31" fmla="*/ 58223 h 489201"/>
                  <a:gd name="connsiteX32" fmla="*/ 228561 w 304748"/>
                  <a:gd name="connsiteY32" fmla="*/ 242997 h 489201"/>
                  <a:gd name="connsiteX33" fmla="*/ 238987 w 304748"/>
                  <a:gd name="connsiteY33" fmla="*/ 253422 h 489201"/>
                  <a:gd name="connsiteX34" fmla="*/ 249412 w 304748"/>
                  <a:gd name="connsiteY34" fmla="*/ 242997 h 489201"/>
                  <a:gd name="connsiteX35" fmla="*/ 249412 w 304748"/>
                  <a:gd name="connsiteY35" fmla="*/ 114682 h 489201"/>
                  <a:gd name="connsiteX36" fmla="*/ 267377 w 304748"/>
                  <a:gd name="connsiteY36" fmla="*/ 89179 h 489201"/>
                  <a:gd name="connsiteX37" fmla="*/ 285341 w 304748"/>
                  <a:gd name="connsiteY37" fmla="*/ 114682 h 489201"/>
                  <a:gd name="connsiteX38" fmla="*/ 285341 w 304748"/>
                  <a:gd name="connsiteY38" fmla="*/ 371953 h 489201"/>
                  <a:gd name="connsiteX39" fmla="*/ 208993 w 304748"/>
                  <a:gd name="connsiteY39" fmla="*/ 468350 h 489201"/>
                  <a:gd name="connsiteX40" fmla="*/ 140986 w 304748"/>
                  <a:gd name="connsiteY40" fmla="*/ 468350 h 489201"/>
                  <a:gd name="connsiteX41" fmla="*/ 20691 w 304748"/>
                  <a:gd name="connsiteY41" fmla="*/ 317901 h 489201"/>
                  <a:gd name="connsiteX42" fmla="*/ 20691 w 304748"/>
                  <a:gd name="connsiteY42" fmla="*/ 227278 h 489201"/>
                  <a:gd name="connsiteX43" fmla="*/ 39457 w 304748"/>
                  <a:gd name="connsiteY43" fmla="*/ 201775 h 489201"/>
                  <a:gd name="connsiteX44" fmla="*/ 58223 w 304748"/>
                  <a:gd name="connsiteY44" fmla="*/ 227278 h 489201"/>
                  <a:gd name="connsiteX45" fmla="*/ 58223 w 304748"/>
                  <a:gd name="connsiteY45" fmla="*/ 288709 h 489201"/>
                  <a:gd name="connsiteX46" fmla="*/ 68648 w 304748"/>
                  <a:gd name="connsiteY46" fmla="*/ 299135 h 489201"/>
                  <a:gd name="connsiteX47" fmla="*/ 79074 w 304748"/>
                  <a:gd name="connsiteY47" fmla="*/ 288709 h 489201"/>
                  <a:gd name="connsiteX48" fmla="*/ 79074 w 304748"/>
                  <a:gd name="connsiteY48" fmla="*/ 78914 h 489201"/>
                  <a:gd name="connsiteX49" fmla="*/ 97038 w 304748"/>
                  <a:gd name="connsiteY49" fmla="*/ 53411 h 489201"/>
                  <a:gd name="connsiteX50" fmla="*/ 115002 w 304748"/>
                  <a:gd name="connsiteY50" fmla="*/ 78753 h 48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04748" h="489201">
                    <a:moveTo>
                      <a:pt x="58383" y="78753"/>
                    </a:moveTo>
                    <a:lnTo>
                      <a:pt x="58383" y="186538"/>
                    </a:lnTo>
                    <a:cubicBezTo>
                      <a:pt x="52769" y="183009"/>
                      <a:pt x="46354" y="180924"/>
                      <a:pt x="39617" y="180924"/>
                    </a:cubicBezTo>
                    <a:cubicBezTo>
                      <a:pt x="17803" y="180924"/>
                      <a:pt x="0" y="201775"/>
                      <a:pt x="0" y="227278"/>
                    </a:cubicBezTo>
                    <a:cubicBezTo>
                      <a:pt x="0" y="260159"/>
                      <a:pt x="0" y="246365"/>
                      <a:pt x="0" y="317901"/>
                    </a:cubicBezTo>
                    <a:cubicBezTo>
                      <a:pt x="0" y="412373"/>
                      <a:pt x="63356" y="489201"/>
                      <a:pt x="141147" y="489201"/>
                    </a:cubicBezTo>
                    <a:lnTo>
                      <a:pt x="208833" y="489201"/>
                    </a:lnTo>
                    <a:cubicBezTo>
                      <a:pt x="262404" y="489201"/>
                      <a:pt x="306031" y="436592"/>
                      <a:pt x="306031" y="372114"/>
                    </a:cubicBezTo>
                    <a:cubicBezTo>
                      <a:pt x="306031" y="344847"/>
                      <a:pt x="306031" y="141949"/>
                      <a:pt x="306031" y="114842"/>
                    </a:cubicBezTo>
                    <a:cubicBezTo>
                      <a:pt x="306031" y="89339"/>
                      <a:pt x="288709" y="68488"/>
                      <a:pt x="267377" y="68488"/>
                    </a:cubicBezTo>
                    <a:cubicBezTo>
                      <a:pt x="260961" y="68488"/>
                      <a:pt x="254866" y="70413"/>
                      <a:pt x="249412" y="73781"/>
                    </a:cubicBezTo>
                    <a:lnTo>
                      <a:pt x="249412" y="58223"/>
                    </a:lnTo>
                    <a:cubicBezTo>
                      <a:pt x="249412" y="32720"/>
                      <a:pt x="232090" y="11869"/>
                      <a:pt x="210757" y="11869"/>
                    </a:cubicBezTo>
                    <a:cubicBezTo>
                      <a:pt x="201775" y="11869"/>
                      <a:pt x="193435" y="15558"/>
                      <a:pt x="186859" y="21814"/>
                    </a:cubicBezTo>
                    <a:cubicBezTo>
                      <a:pt x="179962" y="8822"/>
                      <a:pt x="167932" y="0"/>
                      <a:pt x="154138" y="0"/>
                    </a:cubicBezTo>
                    <a:cubicBezTo>
                      <a:pt x="135212" y="0"/>
                      <a:pt x="119333" y="16520"/>
                      <a:pt x="116125" y="38013"/>
                    </a:cubicBezTo>
                    <a:cubicBezTo>
                      <a:pt x="110672" y="34324"/>
                      <a:pt x="104256" y="32239"/>
                      <a:pt x="97519" y="32239"/>
                    </a:cubicBezTo>
                    <a:cubicBezTo>
                      <a:pt x="75706" y="32399"/>
                      <a:pt x="58383" y="53251"/>
                      <a:pt x="58383" y="78753"/>
                    </a:cubicBezTo>
                    <a:close/>
                    <a:moveTo>
                      <a:pt x="115002" y="78753"/>
                    </a:moveTo>
                    <a:cubicBezTo>
                      <a:pt x="115002" y="296889"/>
                      <a:pt x="115002" y="134731"/>
                      <a:pt x="115002" y="207068"/>
                    </a:cubicBezTo>
                    <a:cubicBezTo>
                      <a:pt x="115002" y="212843"/>
                      <a:pt x="119654" y="217494"/>
                      <a:pt x="125428" y="217494"/>
                    </a:cubicBezTo>
                    <a:cubicBezTo>
                      <a:pt x="131202" y="217494"/>
                      <a:pt x="135854" y="212843"/>
                      <a:pt x="135854" y="207068"/>
                    </a:cubicBezTo>
                    <a:cubicBezTo>
                      <a:pt x="135854" y="143713"/>
                      <a:pt x="135854" y="262725"/>
                      <a:pt x="135854" y="78753"/>
                    </a:cubicBezTo>
                    <a:lnTo>
                      <a:pt x="135854" y="46354"/>
                    </a:lnTo>
                    <a:cubicBezTo>
                      <a:pt x="135854" y="32560"/>
                      <a:pt x="144033" y="20851"/>
                      <a:pt x="153818" y="20851"/>
                    </a:cubicBezTo>
                    <a:cubicBezTo>
                      <a:pt x="163602" y="20851"/>
                      <a:pt x="171782" y="32560"/>
                      <a:pt x="171782" y="46354"/>
                    </a:cubicBezTo>
                    <a:cubicBezTo>
                      <a:pt x="171782" y="191189"/>
                      <a:pt x="171782" y="162479"/>
                      <a:pt x="171782" y="186538"/>
                    </a:cubicBezTo>
                    <a:cubicBezTo>
                      <a:pt x="171782" y="192312"/>
                      <a:pt x="176433" y="196964"/>
                      <a:pt x="182207" y="196964"/>
                    </a:cubicBezTo>
                    <a:cubicBezTo>
                      <a:pt x="187982" y="196964"/>
                      <a:pt x="192633" y="192312"/>
                      <a:pt x="192633" y="186538"/>
                    </a:cubicBezTo>
                    <a:cubicBezTo>
                      <a:pt x="192633" y="140505"/>
                      <a:pt x="192633" y="111794"/>
                      <a:pt x="192633" y="58223"/>
                    </a:cubicBezTo>
                    <a:cubicBezTo>
                      <a:pt x="192633" y="44429"/>
                      <a:pt x="200813" y="32720"/>
                      <a:pt x="210597" y="32720"/>
                    </a:cubicBezTo>
                    <a:cubicBezTo>
                      <a:pt x="220381" y="32720"/>
                      <a:pt x="228561" y="44429"/>
                      <a:pt x="228561" y="58223"/>
                    </a:cubicBezTo>
                    <a:cubicBezTo>
                      <a:pt x="228561" y="80518"/>
                      <a:pt x="228561" y="221023"/>
                      <a:pt x="228561" y="242997"/>
                    </a:cubicBezTo>
                    <a:cubicBezTo>
                      <a:pt x="228561" y="248771"/>
                      <a:pt x="233213" y="253422"/>
                      <a:pt x="238987" y="253422"/>
                    </a:cubicBezTo>
                    <a:cubicBezTo>
                      <a:pt x="244761" y="253422"/>
                      <a:pt x="249412" y="248771"/>
                      <a:pt x="249412" y="242997"/>
                    </a:cubicBezTo>
                    <a:cubicBezTo>
                      <a:pt x="249412" y="194558"/>
                      <a:pt x="249412" y="163281"/>
                      <a:pt x="249412" y="114682"/>
                    </a:cubicBezTo>
                    <a:cubicBezTo>
                      <a:pt x="249412" y="100888"/>
                      <a:pt x="257592" y="89179"/>
                      <a:pt x="267377" y="89179"/>
                    </a:cubicBezTo>
                    <a:cubicBezTo>
                      <a:pt x="277160" y="89179"/>
                      <a:pt x="285341" y="100888"/>
                      <a:pt x="285341" y="114682"/>
                    </a:cubicBezTo>
                    <a:cubicBezTo>
                      <a:pt x="285341" y="141788"/>
                      <a:pt x="285341" y="344686"/>
                      <a:pt x="285341" y="371953"/>
                    </a:cubicBezTo>
                    <a:cubicBezTo>
                      <a:pt x="285341" y="425044"/>
                      <a:pt x="251016" y="468350"/>
                      <a:pt x="208993" y="468350"/>
                    </a:cubicBezTo>
                    <a:lnTo>
                      <a:pt x="140986" y="468350"/>
                    </a:lnTo>
                    <a:cubicBezTo>
                      <a:pt x="74583" y="468350"/>
                      <a:pt x="20691" y="400824"/>
                      <a:pt x="20691" y="317901"/>
                    </a:cubicBezTo>
                    <a:cubicBezTo>
                      <a:pt x="20691" y="297691"/>
                      <a:pt x="20691" y="246205"/>
                      <a:pt x="20691" y="227278"/>
                    </a:cubicBezTo>
                    <a:cubicBezTo>
                      <a:pt x="20691" y="213484"/>
                      <a:pt x="29352" y="201775"/>
                      <a:pt x="39457" y="201775"/>
                    </a:cubicBezTo>
                    <a:cubicBezTo>
                      <a:pt x="49722" y="201775"/>
                      <a:pt x="58223" y="213484"/>
                      <a:pt x="58223" y="227278"/>
                    </a:cubicBezTo>
                    <a:cubicBezTo>
                      <a:pt x="58223" y="262244"/>
                      <a:pt x="58223" y="254385"/>
                      <a:pt x="58223" y="288709"/>
                    </a:cubicBezTo>
                    <a:cubicBezTo>
                      <a:pt x="58223" y="294483"/>
                      <a:pt x="62874" y="299135"/>
                      <a:pt x="68648" y="299135"/>
                    </a:cubicBezTo>
                    <a:cubicBezTo>
                      <a:pt x="74423" y="299135"/>
                      <a:pt x="79074" y="294483"/>
                      <a:pt x="79074" y="288709"/>
                    </a:cubicBezTo>
                    <a:cubicBezTo>
                      <a:pt x="79074" y="263688"/>
                      <a:pt x="79074" y="103454"/>
                      <a:pt x="79074" y="78914"/>
                    </a:cubicBezTo>
                    <a:cubicBezTo>
                      <a:pt x="79074" y="65120"/>
                      <a:pt x="87254" y="53411"/>
                      <a:pt x="97038" y="53411"/>
                    </a:cubicBezTo>
                    <a:cubicBezTo>
                      <a:pt x="106822" y="53090"/>
                      <a:pt x="115002" y="64799"/>
                      <a:pt x="115002" y="78753"/>
                    </a:cubicBezTo>
                    <a:close/>
                  </a:path>
                </a:pathLst>
              </a:custGeom>
              <a:grpFill/>
              <a:ln w="1602" cap="flat">
                <a:noFill/>
                <a:prstDash val="solid"/>
                <a:miter/>
              </a:ln>
            </p:spPr>
            <p:txBody>
              <a:bodyPr rtlCol="0" anchor="ctr"/>
              <a:lstStyle/>
              <a:p>
                <a:endParaRPr lang="es-ES"/>
              </a:p>
            </p:txBody>
          </p:sp>
        </p:grpSp>
      </p:grpSp>
      <p:grpSp>
        <p:nvGrpSpPr>
          <p:cNvPr id="13" name="Grupo 12">
            <a:extLst>
              <a:ext uri="{FF2B5EF4-FFF2-40B4-BE49-F238E27FC236}">
                <a16:creationId xmlns:a16="http://schemas.microsoft.com/office/drawing/2014/main" id="{AF1C45FE-E57E-45E9-8EE9-6B877F7DB67E}"/>
              </a:ext>
            </a:extLst>
          </p:cNvPr>
          <p:cNvGrpSpPr/>
          <p:nvPr/>
        </p:nvGrpSpPr>
        <p:grpSpPr>
          <a:xfrm>
            <a:off x="2897936" y="4571060"/>
            <a:ext cx="1859248" cy="2062273"/>
            <a:chOff x="17417" y="4738386"/>
            <a:chExt cx="1859248" cy="2062273"/>
          </a:xfrm>
        </p:grpSpPr>
        <p:sp>
          <p:nvSpPr>
            <p:cNvPr id="806" name="Forma libre 805">
              <a:extLst>
                <a:ext uri="{FF2B5EF4-FFF2-40B4-BE49-F238E27FC236}">
                  <a16:creationId xmlns:a16="http://schemas.microsoft.com/office/drawing/2014/main" id="{CEAEDECF-A719-BD4F-8D30-122A90C7E310}"/>
                </a:ext>
              </a:extLst>
            </p:cNvPr>
            <p:cNvSpPr/>
            <p:nvPr/>
          </p:nvSpPr>
          <p:spPr>
            <a:xfrm>
              <a:off x="17417" y="4831553"/>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07" name="Forma libre 806">
              <a:extLst>
                <a:ext uri="{FF2B5EF4-FFF2-40B4-BE49-F238E27FC236}">
                  <a16:creationId xmlns:a16="http://schemas.microsoft.com/office/drawing/2014/main" id="{624741FD-3E67-2647-9070-5A8EA7DAC2E8}"/>
                </a:ext>
              </a:extLst>
            </p:cNvPr>
            <p:cNvSpPr/>
            <p:nvPr/>
          </p:nvSpPr>
          <p:spPr>
            <a:xfrm>
              <a:off x="90847" y="4904940"/>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accent2"/>
            </a:solidFill>
            <a:ln w="3430" cap="flat">
              <a:noFill/>
              <a:prstDash val="solid"/>
              <a:miter/>
            </a:ln>
          </p:spPr>
          <p:txBody>
            <a:bodyPr rtlCol="0" anchor="ctr"/>
            <a:lstStyle/>
            <a:p>
              <a:endParaRPr lang="es-ES"/>
            </a:p>
          </p:txBody>
        </p:sp>
        <p:sp>
          <p:nvSpPr>
            <p:cNvPr id="809" name="Forma libre 808">
              <a:extLst>
                <a:ext uri="{FF2B5EF4-FFF2-40B4-BE49-F238E27FC236}">
                  <a16:creationId xmlns:a16="http://schemas.microsoft.com/office/drawing/2014/main" id="{9C184EA1-7BEC-DC49-98D8-82AA14B94E59}"/>
                </a:ext>
              </a:extLst>
            </p:cNvPr>
            <p:cNvSpPr/>
            <p:nvPr/>
          </p:nvSpPr>
          <p:spPr>
            <a:xfrm>
              <a:off x="570393" y="4738386"/>
              <a:ext cx="1306272" cy="1951771"/>
            </a:xfrm>
            <a:custGeom>
              <a:avLst/>
              <a:gdLst>
                <a:gd name="connsiteX0" fmla="*/ 734900 w 1530265"/>
                <a:gd name="connsiteY0" fmla="*/ -290 h 2286450"/>
                <a:gd name="connsiteX1" fmla="*/ 1529598 w 1530265"/>
                <a:gd name="connsiteY1" fmla="*/ 1111399 h 2286450"/>
                <a:gd name="connsiteX2" fmla="*/ 354152 w 1530265"/>
                <a:gd name="connsiteY2" fmla="*/ 2286160 h 2286450"/>
                <a:gd name="connsiteX3" fmla="*/ -667 w 1530265"/>
                <a:gd name="connsiteY3" fmla="*/ 2231623 h 2286450"/>
              </a:gdLst>
              <a:ahLst/>
              <a:cxnLst>
                <a:cxn ang="0">
                  <a:pos x="connsiteX0" y="connsiteY0"/>
                </a:cxn>
                <a:cxn ang="0">
                  <a:pos x="connsiteX1" y="connsiteY1"/>
                </a:cxn>
                <a:cxn ang="0">
                  <a:pos x="connsiteX2" y="connsiteY2"/>
                </a:cxn>
                <a:cxn ang="0">
                  <a:pos x="connsiteX3" y="connsiteY3"/>
                </a:cxn>
              </a:cxnLst>
              <a:rect l="l" t="t" r="r" b="b"/>
              <a:pathLst>
                <a:path w="1530265" h="2286450">
                  <a:moveTo>
                    <a:pt x="734900" y="-290"/>
                  </a:moveTo>
                  <a:cubicBezTo>
                    <a:pt x="1197211" y="157803"/>
                    <a:pt x="1529598" y="595815"/>
                    <a:pt x="1529598" y="1111399"/>
                  </a:cubicBezTo>
                  <a:cubicBezTo>
                    <a:pt x="1529598" y="1760224"/>
                    <a:pt x="1003321" y="2286160"/>
                    <a:pt x="354152" y="2286160"/>
                  </a:cubicBezTo>
                  <a:cubicBezTo>
                    <a:pt x="233781" y="2286270"/>
                    <a:pt x="114110" y="2267876"/>
                    <a:pt x="-667" y="2231623"/>
                  </a:cubicBezTo>
                  <a:close/>
                </a:path>
              </a:pathLst>
            </a:custGeom>
            <a:solidFill>
              <a:srgbClr val="000000">
                <a:alpha val="10000"/>
              </a:srgbClr>
            </a:solidFill>
            <a:ln w="3430" cap="flat">
              <a:noFill/>
              <a:prstDash val="solid"/>
              <a:miter/>
            </a:ln>
          </p:spPr>
          <p:txBody>
            <a:bodyPr rtlCol="0" anchor="ctr"/>
            <a:lstStyle/>
            <a:p>
              <a:endParaRPr lang="es-ES"/>
            </a:p>
          </p:txBody>
        </p:sp>
        <p:sp>
          <p:nvSpPr>
            <p:cNvPr id="810" name="Rectángulo 809">
              <a:extLst>
                <a:ext uri="{FF2B5EF4-FFF2-40B4-BE49-F238E27FC236}">
                  <a16:creationId xmlns:a16="http://schemas.microsoft.com/office/drawing/2014/main" id="{B2728593-089C-C24B-BD19-BE2F58A5A93D}"/>
                </a:ext>
              </a:extLst>
            </p:cNvPr>
            <p:cNvSpPr/>
            <p:nvPr/>
          </p:nvSpPr>
          <p:spPr>
            <a:xfrm>
              <a:off x="203663" y="5115581"/>
              <a:ext cx="1583188" cy="1171988"/>
            </a:xfrm>
            <a:prstGeom prst="rect">
              <a:avLst/>
            </a:prstGeom>
          </p:spPr>
          <p:txBody>
            <a:bodyPr wrap="square">
              <a:spAutoFit/>
            </a:bodyPr>
            <a:lstStyle/>
            <a:p>
              <a:pPr>
                <a:lnSpc>
                  <a:spcPts val="1400"/>
                </a:lnSpc>
                <a:spcAft>
                  <a:spcPts val="600"/>
                </a:spcAft>
                <a:defRPr/>
              </a:pPr>
              <a:r>
                <a:rPr lang="es-ES" sz="1600" b="1">
                  <a:solidFill>
                    <a:schemeClr val="bg1"/>
                  </a:solidFill>
                </a:rPr>
                <a:t>Reducir</a:t>
              </a:r>
              <a:r>
                <a:rPr lang="es-ES" sz="1200" b="1">
                  <a:solidFill>
                    <a:schemeClr val="bg1"/>
                  </a:solidFill>
                </a:rPr>
                <a:t> </a:t>
              </a:r>
              <a:r>
                <a:rPr lang="es-ES" sz="1400">
                  <a:solidFill>
                    <a:schemeClr val="bg1"/>
                  </a:solidFill>
                </a:rPr>
                <a:t>los desplazamientos, minimizar el consumo de papel y las emisiones    de carbono.</a:t>
              </a:r>
              <a:endParaRPr lang="es-ES" sz="1200">
                <a:solidFill>
                  <a:schemeClr val="bg1"/>
                </a:solidFill>
              </a:endParaRPr>
            </a:p>
          </p:txBody>
        </p:sp>
        <p:grpSp>
          <p:nvGrpSpPr>
            <p:cNvPr id="857" name="Grupo 856">
              <a:extLst>
                <a:ext uri="{FF2B5EF4-FFF2-40B4-BE49-F238E27FC236}">
                  <a16:creationId xmlns:a16="http://schemas.microsoft.com/office/drawing/2014/main" id="{0B79D539-98D1-FC48-8A31-79C4CBBB3F1F}"/>
                </a:ext>
              </a:extLst>
            </p:cNvPr>
            <p:cNvGrpSpPr/>
            <p:nvPr/>
          </p:nvGrpSpPr>
          <p:grpSpPr>
            <a:xfrm>
              <a:off x="1096997" y="6152042"/>
              <a:ext cx="648995" cy="648617"/>
              <a:chOff x="2010682" y="4078481"/>
              <a:chExt cx="1712476" cy="1711479"/>
            </a:xfrm>
          </p:grpSpPr>
          <p:sp>
            <p:nvSpPr>
              <p:cNvPr id="858" name="Forma libre 857">
                <a:extLst>
                  <a:ext uri="{FF2B5EF4-FFF2-40B4-BE49-F238E27FC236}">
                    <a16:creationId xmlns:a16="http://schemas.microsoft.com/office/drawing/2014/main" id="{91B7412D-65D5-5C4C-99BC-82F27B831A84}"/>
                  </a:ext>
                </a:extLst>
              </p:cNvPr>
              <p:cNvSpPr/>
              <p:nvPr/>
            </p:nvSpPr>
            <p:spPr>
              <a:xfrm>
                <a:off x="2010682" y="4078481"/>
                <a:ext cx="1712476" cy="1711479"/>
              </a:xfrm>
              <a:custGeom>
                <a:avLst/>
                <a:gdLst>
                  <a:gd name="connsiteX0" fmla="*/ 2006124 w 2006123"/>
                  <a:gd name="connsiteY0" fmla="*/ 1002477 h 2004954"/>
                  <a:gd name="connsiteX1" fmla="*/ 1003062 w 2006123"/>
                  <a:gd name="connsiteY1" fmla="*/ 2004954 h 2004954"/>
                  <a:gd name="connsiteX2" fmla="*/ 0 w 2006123"/>
                  <a:gd name="connsiteY2" fmla="*/ 1002477 h 2004954"/>
                  <a:gd name="connsiteX3" fmla="*/ 1003062 w 2006123"/>
                  <a:gd name="connsiteY3" fmla="*/ 0 h 2004954"/>
                  <a:gd name="connsiteX4" fmla="*/ 2006124 w 2006123"/>
                  <a:gd name="connsiteY4" fmla="*/ 1002477 h 2004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6123" h="2004954">
                    <a:moveTo>
                      <a:pt x="2006124" y="1002477"/>
                    </a:moveTo>
                    <a:cubicBezTo>
                      <a:pt x="2006124" y="1556130"/>
                      <a:pt x="1557038" y="2004954"/>
                      <a:pt x="1003062" y="2004954"/>
                    </a:cubicBezTo>
                    <a:cubicBezTo>
                      <a:pt x="449086" y="2004954"/>
                      <a:pt x="0" y="1556130"/>
                      <a:pt x="0" y="1002477"/>
                    </a:cubicBezTo>
                    <a:cubicBezTo>
                      <a:pt x="0" y="448824"/>
                      <a:pt x="449086" y="0"/>
                      <a:pt x="1003062" y="0"/>
                    </a:cubicBezTo>
                    <a:cubicBezTo>
                      <a:pt x="1557038" y="0"/>
                      <a:pt x="2006124" y="448824"/>
                      <a:pt x="2006124" y="1002477"/>
                    </a:cubicBezTo>
                    <a:close/>
                  </a:path>
                </a:pathLst>
              </a:custGeom>
              <a:solidFill>
                <a:srgbClr val="FFFFFF"/>
              </a:solidFill>
              <a:ln w="3430" cap="flat">
                <a:noFill/>
                <a:prstDash val="solid"/>
                <a:miter/>
              </a:ln>
            </p:spPr>
            <p:txBody>
              <a:bodyPr rtlCol="0" anchor="ctr"/>
              <a:lstStyle/>
              <a:p>
                <a:endParaRPr lang="es-ES"/>
              </a:p>
            </p:txBody>
          </p:sp>
          <p:sp>
            <p:nvSpPr>
              <p:cNvPr id="859" name="Forma libre 858">
                <a:extLst>
                  <a:ext uri="{FF2B5EF4-FFF2-40B4-BE49-F238E27FC236}">
                    <a16:creationId xmlns:a16="http://schemas.microsoft.com/office/drawing/2014/main" id="{A06F13BE-817A-974B-8AC4-DA803E848F77}"/>
                  </a:ext>
                </a:extLst>
              </p:cNvPr>
              <p:cNvSpPr/>
              <p:nvPr/>
            </p:nvSpPr>
            <p:spPr>
              <a:xfrm>
                <a:off x="2084112" y="4151868"/>
                <a:ext cx="1565617" cy="1564706"/>
              </a:xfrm>
              <a:custGeom>
                <a:avLst/>
                <a:gdLst>
                  <a:gd name="connsiteX0" fmla="*/ 1834082 w 1834081"/>
                  <a:gd name="connsiteY0" fmla="*/ 916507 h 1833013"/>
                  <a:gd name="connsiteX1" fmla="*/ 917041 w 1834081"/>
                  <a:gd name="connsiteY1" fmla="*/ 1833013 h 1833013"/>
                  <a:gd name="connsiteX2" fmla="*/ 0 w 1834081"/>
                  <a:gd name="connsiteY2" fmla="*/ 916507 h 1833013"/>
                  <a:gd name="connsiteX3" fmla="*/ 917041 w 1834081"/>
                  <a:gd name="connsiteY3" fmla="*/ 0 h 1833013"/>
                  <a:gd name="connsiteX4" fmla="*/ 1834082 w 1834081"/>
                  <a:gd name="connsiteY4" fmla="*/ 916507 h 1833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4081" h="1833013">
                    <a:moveTo>
                      <a:pt x="1834082" y="916507"/>
                    </a:moveTo>
                    <a:cubicBezTo>
                      <a:pt x="1834082" y="1422679"/>
                      <a:pt x="1423509" y="1833013"/>
                      <a:pt x="917041" y="1833013"/>
                    </a:cubicBezTo>
                    <a:cubicBezTo>
                      <a:pt x="410573" y="1833013"/>
                      <a:pt x="0" y="1422679"/>
                      <a:pt x="0" y="916507"/>
                    </a:cubicBezTo>
                    <a:cubicBezTo>
                      <a:pt x="0" y="410334"/>
                      <a:pt x="410573" y="0"/>
                      <a:pt x="917041" y="0"/>
                    </a:cubicBezTo>
                    <a:cubicBezTo>
                      <a:pt x="1423509" y="0"/>
                      <a:pt x="1834082" y="410334"/>
                      <a:pt x="1834082" y="916507"/>
                    </a:cubicBezTo>
                    <a:close/>
                  </a:path>
                </a:pathLst>
              </a:custGeom>
              <a:solidFill>
                <a:schemeClr val="accent2"/>
              </a:solidFill>
              <a:ln w="3430" cap="flat">
                <a:noFill/>
                <a:prstDash val="solid"/>
                <a:miter/>
              </a:ln>
            </p:spPr>
            <p:txBody>
              <a:bodyPr rtlCol="0" anchor="ctr"/>
              <a:lstStyle/>
              <a:p>
                <a:endParaRPr lang="es-ES"/>
              </a:p>
            </p:txBody>
          </p:sp>
        </p:grpSp>
        <p:grpSp>
          <p:nvGrpSpPr>
            <p:cNvPr id="911" name="Group 5">
              <a:extLst>
                <a:ext uri="{FF2B5EF4-FFF2-40B4-BE49-F238E27FC236}">
                  <a16:creationId xmlns:a16="http://schemas.microsoft.com/office/drawing/2014/main" id="{92115DB2-5D20-4449-87CB-10B4F308F3EC}"/>
                </a:ext>
              </a:extLst>
            </p:cNvPr>
            <p:cNvGrpSpPr/>
            <p:nvPr/>
          </p:nvGrpSpPr>
          <p:grpSpPr>
            <a:xfrm>
              <a:off x="1195678" y="6310762"/>
              <a:ext cx="468052" cy="270642"/>
              <a:chOff x="9420329" y="2349903"/>
              <a:chExt cx="466725" cy="269875"/>
            </a:xfrm>
          </p:grpSpPr>
          <p:sp>
            <p:nvSpPr>
              <p:cNvPr id="912" name="Freeform 143">
                <a:extLst>
                  <a:ext uri="{FF2B5EF4-FFF2-40B4-BE49-F238E27FC236}">
                    <a16:creationId xmlns:a16="http://schemas.microsoft.com/office/drawing/2014/main" id="{50E45DC4-4F21-BE4D-B0BD-36D50275B9DC}"/>
                  </a:ext>
                </a:extLst>
              </p:cNvPr>
              <p:cNvSpPr>
                <a:spLocks/>
              </p:cNvSpPr>
              <p:nvPr/>
            </p:nvSpPr>
            <p:spPr bwMode="auto">
              <a:xfrm>
                <a:off x="9617179" y="2391178"/>
                <a:ext cx="269875" cy="220662"/>
              </a:xfrm>
              <a:custGeom>
                <a:avLst/>
                <a:gdLst>
                  <a:gd name="T0" fmla="*/ 347 w 853"/>
                  <a:gd name="T1" fmla="*/ 205 h 697"/>
                  <a:gd name="T2" fmla="*/ 414 w 853"/>
                  <a:gd name="T3" fmla="*/ 160 h 697"/>
                  <a:gd name="T4" fmla="*/ 483 w 853"/>
                  <a:gd name="T5" fmla="*/ 123 h 697"/>
                  <a:gd name="T6" fmla="*/ 553 w 853"/>
                  <a:gd name="T7" fmla="*/ 94 h 697"/>
                  <a:gd name="T8" fmla="*/ 625 w 853"/>
                  <a:gd name="T9" fmla="*/ 74 h 697"/>
                  <a:gd name="T10" fmla="*/ 695 w 853"/>
                  <a:gd name="T11" fmla="*/ 64 h 697"/>
                  <a:gd name="T12" fmla="*/ 643 w 853"/>
                  <a:gd name="T13" fmla="*/ 67 h 697"/>
                  <a:gd name="T14" fmla="*/ 565 w 853"/>
                  <a:gd name="T15" fmla="*/ 80 h 697"/>
                  <a:gd name="T16" fmla="*/ 486 w 853"/>
                  <a:gd name="T17" fmla="*/ 103 h 697"/>
                  <a:gd name="T18" fmla="*/ 407 w 853"/>
                  <a:gd name="T19" fmla="*/ 135 h 697"/>
                  <a:gd name="T20" fmla="*/ 331 w 853"/>
                  <a:gd name="T21" fmla="*/ 177 h 697"/>
                  <a:gd name="T22" fmla="*/ 281 w 853"/>
                  <a:gd name="T23" fmla="*/ 211 h 697"/>
                  <a:gd name="T24" fmla="*/ 219 w 853"/>
                  <a:gd name="T25" fmla="*/ 261 h 697"/>
                  <a:gd name="T26" fmla="*/ 163 w 853"/>
                  <a:gd name="T27" fmla="*/ 315 h 697"/>
                  <a:gd name="T28" fmla="*/ 114 w 853"/>
                  <a:gd name="T29" fmla="*/ 374 h 697"/>
                  <a:gd name="T30" fmla="*/ 73 w 853"/>
                  <a:gd name="T31" fmla="*/ 434 h 697"/>
                  <a:gd name="T32" fmla="*/ 40 w 853"/>
                  <a:gd name="T33" fmla="*/ 497 h 697"/>
                  <a:gd name="T34" fmla="*/ 19 w 853"/>
                  <a:gd name="T35" fmla="*/ 494 h 697"/>
                  <a:gd name="T36" fmla="*/ 1 w 853"/>
                  <a:gd name="T37" fmla="*/ 415 h 697"/>
                  <a:gd name="T38" fmla="*/ 3 w 853"/>
                  <a:gd name="T39" fmla="*/ 336 h 697"/>
                  <a:gd name="T40" fmla="*/ 26 w 853"/>
                  <a:gd name="T41" fmla="*/ 260 h 697"/>
                  <a:gd name="T42" fmla="*/ 68 w 853"/>
                  <a:gd name="T43" fmla="*/ 190 h 697"/>
                  <a:gd name="T44" fmla="*/ 127 w 853"/>
                  <a:gd name="T45" fmla="*/ 133 h 697"/>
                  <a:gd name="T46" fmla="*/ 192 w 853"/>
                  <a:gd name="T47" fmla="*/ 90 h 697"/>
                  <a:gd name="T48" fmla="*/ 291 w 853"/>
                  <a:gd name="T49" fmla="*/ 43 h 697"/>
                  <a:gd name="T50" fmla="*/ 387 w 853"/>
                  <a:gd name="T51" fmla="*/ 14 h 697"/>
                  <a:gd name="T52" fmla="*/ 479 w 853"/>
                  <a:gd name="T53" fmla="*/ 1 h 697"/>
                  <a:gd name="T54" fmla="*/ 566 w 853"/>
                  <a:gd name="T55" fmla="*/ 0 h 697"/>
                  <a:gd name="T56" fmla="*/ 645 w 853"/>
                  <a:gd name="T57" fmla="*/ 8 h 697"/>
                  <a:gd name="T58" fmla="*/ 714 w 853"/>
                  <a:gd name="T59" fmla="*/ 22 h 697"/>
                  <a:gd name="T60" fmla="*/ 816 w 853"/>
                  <a:gd name="T61" fmla="*/ 54 h 697"/>
                  <a:gd name="T62" fmla="*/ 853 w 853"/>
                  <a:gd name="T63" fmla="*/ 70 h 697"/>
                  <a:gd name="T64" fmla="*/ 799 w 853"/>
                  <a:gd name="T65" fmla="*/ 86 h 697"/>
                  <a:gd name="T66" fmla="*/ 755 w 853"/>
                  <a:gd name="T67" fmla="*/ 120 h 697"/>
                  <a:gd name="T68" fmla="*/ 721 w 853"/>
                  <a:gd name="T69" fmla="*/ 167 h 697"/>
                  <a:gd name="T70" fmla="*/ 693 w 853"/>
                  <a:gd name="T71" fmla="*/ 224 h 697"/>
                  <a:gd name="T72" fmla="*/ 630 w 853"/>
                  <a:gd name="T73" fmla="*/ 403 h 697"/>
                  <a:gd name="T74" fmla="*/ 595 w 853"/>
                  <a:gd name="T75" fmla="*/ 493 h 697"/>
                  <a:gd name="T76" fmla="*/ 564 w 853"/>
                  <a:gd name="T77" fmla="*/ 555 h 697"/>
                  <a:gd name="T78" fmla="*/ 524 w 853"/>
                  <a:gd name="T79" fmla="*/ 608 h 697"/>
                  <a:gd name="T80" fmla="*/ 492 w 853"/>
                  <a:gd name="T81" fmla="*/ 637 h 697"/>
                  <a:gd name="T82" fmla="*/ 455 w 853"/>
                  <a:gd name="T83" fmla="*/ 661 h 697"/>
                  <a:gd name="T84" fmla="*/ 415 w 853"/>
                  <a:gd name="T85" fmla="*/ 678 h 697"/>
                  <a:gd name="T86" fmla="*/ 375 w 853"/>
                  <a:gd name="T87" fmla="*/ 690 h 697"/>
                  <a:gd name="T88" fmla="*/ 306 w 853"/>
                  <a:gd name="T89" fmla="*/ 697 h 697"/>
                  <a:gd name="T90" fmla="*/ 222 w 853"/>
                  <a:gd name="T91" fmla="*/ 684 h 697"/>
                  <a:gd name="T92" fmla="*/ 147 w 853"/>
                  <a:gd name="T93" fmla="*/ 650 h 697"/>
                  <a:gd name="T94" fmla="*/ 112 w 853"/>
                  <a:gd name="T95" fmla="*/ 625 h 697"/>
                  <a:gd name="T96" fmla="*/ 80 w 853"/>
                  <a:gd name="T97" fmla="*/ 595 h 697"/>
                  <a:gd name="T98" fmla="*/ 82 w 853"/>
                  <a:gd name="T99" fmla="*/ 582 h 697"/>
                  <a:gd name="T100" fmla="*/ 99 w 853"/>
                  <a:gd name="T101" fmla="*/ 532 h 697"/>
                  <a:gd name="T102" fmla="*/ 135 w 853"/>
                  <a:gd name="T103" fmla="*/ 455 h 697"/>
                  <a:gd name="T104" fmla="*/ 191 w 853"/>
                  <a:gd name="T105" fmla="*/ 366 h 697"/>
                  <a:gd name="T106" fmla="*/ 266 w 853"/>
                  <a:gd name="T107" fmla="*/ 276 h 697"/>
                  <a:gd name="T108" fmla="*/ 310 w 853"/>
                  <a:gd name="T109" fmla="*/ 234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3" h="697">
                    <a:moveTo>
                      <a:pt x="325" y="222"/>
                    </a:moveTo>
                    <a:lnTo>
                      <a:pt x="325" y="222"/>
                    </a:lnTo>
                    <a:lnTo>
                      <a:pt x="347" y="205"/>
                    </a:lnTo>
                    <a:lnTo>
                      <a:pt x="369" y="189"/>
                    </a:lnTo>
                    <a:lnTo>
                      <a:pt x="391" y="174"/>
                    </a:lnTo>
                    <a:lnTo>
                      <a:pt x="414" y="160"/>
                    </a:lnTo>
                    <a:lnTo>
                      <a:pt x="437" y="147"/>
                    </a:lnTo>
                    <a:lnTo>
                      <a:pt x="460" y="134"/>
                    </a:lnTo>
                    <a:lnTo>
                      <a:pt x="483" y="123"/>
                    </a:lnTo>
                    <a:lnTo>
                      <a:pt x="507" y="112"/>
                    </a:lnTo>
                    <a:lnTo>
                      <a:pt x="529" y="103"/>
                    </a:lnTo>
                    <a:lnTo>
                      <a:pt x="553" y="94"/>
                    </a:lnTo>
                    <a:lnTo>
                      <a:pt x="577" y="86"/>
                    </a:lnTo>
                    <a:lnTo>
                      <a:pt x="601" y="80"/>
                    </a:lnTo>
                    <a:lnTo>
                      <a:pt x="625" y="74"/>
                    </a:lnTo>
                    <a:lnTo>
                      <a:pt x="648" y="70"/>
                    </a:lnTo>
                    <a:lnTo>
                      <a:pt x="672" y="66"/>
                    </a:lnTo>
                    <a:lnTo>
                      <a:pt x="695" y="64"/>
                    </a:lnTo>
                    <a:lnTo>
                      <a:pt x="695" y="64"/>
                    </a:lnTo>
                    <a:lnTo>
                      <a:pt x="670" y="65"/>
                    </a:lnTo>
                    <a:lnTo>
                      <a:pt x="643" y="67"/>
                    </a:lnTo>
                    <a:lnTo>
                      <a:pt x="617" y="70"/>
                    </a:lnTo>
                    <a:lnTo>
                      <a:pt x="591" y="74"/>
                    </a:lnTo>
                    <a:lnTo>
                      <a:pt x="565" y="80"/>
                    </a:lnTo>
                    <a:lnTo>
                      <a:pt x="538" y="86"/>
                    </a:lnTo>
                    <a:lnTo>
                      <a:pt x="512" y="94"/>
                    </a:lnTo>
                    <a:lnTo>
                      <a:pt x="486" y="103"/>
                    </a:lnTo>
                    <a:lnTo>
                      <a:pt x="459" y="112"/>
                    </a:lnTo>
                    <a:lnTo>
                      <a:pt x="433" y="123"/>
                    </a:lnTo>
                    <a:lnTo>
                      <a:pt x="407" y="135"/>
                    </a:lnTo>
                    <a:lnTo>
                      <a:pt x="381" y="148"/>
                    </a:lnTo>
                    <a:lnTo>
                      <a:pt x="355" y="162"/>
                    </a:lnTo>
                    <a:lnTo>
                      <a:pt x="331" y="177"/>
                    </a:lnTo>
                    <a:lnTo>
                      <a:pt x="306" y="194"/>
                    </a:lnTo>
                    <a:lnTo>
                      <a:pt x="281" y="211"/>
                    </a:lnTo>
                    <a:lnTo>
                      <a:pt x="281" y="211"/>
                    </a:lnTo>
                    <a:lnTo>
                      <a:pt x="259" y="227"/>
                    </a:lnTo>
                    <a:lnTo>
                      <a:pt x="239" y="244"/>
                    </a:lnTo>
                    <a:lnTo>
                      <a:pt x="219" y="261"/>
                    </a:lnTo>
                    <a:lnTo>
                      <a:pt x="200" y="278"/>
                    </a:lnTo>
                    <a:lnTo>
                      <a:pt x="181" y="297"/>
                    </a:lnTo>
                    <a:lnTo>
                      <a:pt x="163" y="315"/>
                    </a:lnTo>
                    <a:lnTo>
                      <a:pt x="147" y="335"/>
                    </a:lnTo>
                    <a:lnTo>
                      <a:pt x="131" y="354"/>
                    </a:lnTo>
                    <a:lnTo>
                      <a:pt x="114" y="374"/>
                    </a:lnTo>
                    <a:lnTo>
                      <a:pt x="100" y="393"/>
                    </a:lnTo>
                    <a:lnTo>
                      <a:pt x="86" y="414"/>
                    </a:lnTo>
                    <a:lnTo>
                      <a:pt x="73" y="434"/>
                    </a:lnTo>
                    <a:lnTo>
                      <a:pt x="61" y="455"/>
                    </a:lnTo>
                    <a:lnTo>
                      <a:pt x="49" y="477"/>
                    </a:lnTo>
                    <a:lnTo>
                      <a:pt x="40" y="497"/>
                    </a:lnTo>
                    <a:lnTo>
                      <a:pt x="30" y="519"/>
                    </a:lnTo>
                    <a:lnTo>
                      <a:pt x="30" y="519"/>
                    </a:lnTo>
                    <a:lnTo>
                      <a:pt x="19" y="494"/>
                    </a:lnTo>
                    <a:lnTo>
                      <a:pt x="11" y="468"/>
                    </a:lnTo>
                    <a:lnTo>
                      <a:pt x="4" y="442"/>
                    </a:lnTo>
                    <a:lnTo>
                      <a:pt x="1" y="415"/>
                    </a:lnTo>
                    <a:lnTo>
                      <a:pt x="0" y="389"/>
                    </a:lnTo>
                    <a:lnTo>
                      <a:pt x="1" y="363"/>
                    </a:lnTo>
                    <a:lnTo>
                      <a:pt x="3" y="336"/>
                    </a:lnTo>
                    <a:lnTo>
                      <a:pt x="8" y="311"/>
                    </a:lnTo>
                    <a:lnTo>
                      <a:pt x="16" y="285"/>
                    </a:lnTo>
                    <a:lnTo>
                      <a:pt x="26" y="260"/>
                    </a:lnTo>
                    <a:lnTo>
                      <a:pt x="38" y="236"/>
                    </a:lnTo>
                    <a:lnTo>
                      <a:pt x="52" y="213"/>
                    </a:lnTo>
                    <a:lnTo>
                      <a:pt x="68" y="190"/>
                    </a:lnTo>
                    <a:lnTo>
                      <a:pt x="85" y="170"/>
                    </a:lnTo>
                    <a:lnTo>
                      <a:pt x="106" y="150"/>
                    </a:lnTo>
                    <a:lnTo>
                      <a:pt x="127" y="133"/>
                    </a:lnTo>
                    <a:lnTo>
                      <a:pt x="127" y="133"/>
                    </a:lnTo>
                    <a:lnTo>
                      <a:pt x="160" y="110"/>
                    </a:lnTo>
                    <a:lnTo>
                      <a:pt x="192" y="90"/>
                    </a:lnTo>
                    <a:lnTo>
                      <a:pt x="225" y="71"/>
                    </a:lnTo>
                    <a:lnTo>
                      <a:pt x="258" y="56"/>
                    </a:lnTo>
                    <a:lnTo>
                      <a:pt x="291" y="43"/>
                    </a:lnTo>
                    <a:lnTo>
                      <a:pt x="323" y="31"/>
                    </a:lnTo>
                    <a:lnTo>
                      <a:pt x="354" y="21"/>
                    </a:lnTo>
                    <a:lnTo>
                      <a:pt x="387" y="14"/>
                    </a:lnTo>
                    <a:lnTo>
                      <a:pt x="418" y="8"/>
                    </a:lnTo>
                    <a:lnTo>
                      <a:pt x="448" y="4"/>
                    </a:lnTo>
                    <a:lnTo>
                      <a:pt x="479" y="1"/>
                    </a:lnTo>
                    <a:lnTo>
                      <a:pt x="509" y="0"/>
                    </a:lnTo>
                    <a:lnTo>
                      <a:pt x="538" y="0"/>
                    </a:lnTo>
                    <a:lnTo>
                      <a:pt x="566" y="0"/>
                    </a:lnTo>
                    <a:lnTo>
                      <a:pt x="593" y="2"/>
                    </a:lnTo>
                    <a:lnTo>
                      <a:pt x="620" y="5"/>
                    </a:lnTo>
                    <a:lnTo>
                      <a:pt x="645" y="8"/>
                    </a:lnTo>
                    <a:lnTo>
                      <a:pt x="670" y="13"/>
                    </a:lnTo>
                    <a:lnTo>
                      <a:pt x="693" y="17"/>
                    </a:lnTo>
                    <a:lnTo>
                      <a:pt x="714" y="22"/>
                    </a:lnTo>
                    <a:lnTo>
                      <a:pt x="754" y="33"/>
                    </a:lnTo>
                    <a:lnTo>
                      <a:pt x="788" y="44"/>
                    </a:lnTo>
                    <a:lnTo>
                      <a:pt x="816" y="54"/>
                    </a:lnTo>
                    <a:lnTo>
                      <a:pt x="837" y="63"/>
                    </a:lnTo>
                    <a:lnTo>
                      <a:pt x="853" y="70"/>
                    </a:lnTo>
                    <a:lnTo>
                      <a:pt x="853" y="70"/>
                    </a:lnTo>
                    <a:lnTo>
                      <a:pt x="833" y="73"/>
                    </a:lnTo>
                    <a:lnTo>
                      <a:pt x="816" y="79"/>
                    </a:lnTo>
                    <a:lnTo>
                      <a:pt x="799" y="86"/>
                    </a:lnTo>
                    <a:lnTo>
                      <a:pt x="784" y="96"/>
                    </a:lnTo>
                    <a:lnTo>
                      <a:pt x="768" y="107"/>
                    </a:lnTo>
                    <a:lnTo>
                      <a:pt x="755" y="120"/>
                    </a:lnTo>
                    <a:lnTo>
                      <a:pt x="744" y="134"/>
                    </a:lnTo>
                    <a:lnTo>
                      <a:pt x="732" y="149"/>
                    </a:lnTo>
                    <a:lnTo>
                      <a:pt x="721" y="167"/>
                    </a:lnTo>
                    <a:lnTo>
                      <a:pt x="711" y="185"/>
                    </a:lnTo>
                    <a:lnTo>
                      <a:pt x="701" y="204"/>
                    </a:lnTo>
                    <a:lnTo>
                      <a:pt x="693" y="224"/>
                    </a:lnTo>
                    <a:lnTo>
                      <a:pt x="677" y="266"/>
                    </a:lnTo>
                    <a:lnTo>
                      <a:pt x="661" y="311"/>
                    </a:lnTo>
                    <a:lnTo>
                      <a:pt x="630" y="403"/>
                    </a:lnTo>
                    <a:lnTo>
                      <a:pt x="614" y="449"/>
                    </a:lnTo>
                    <a:lnTo>
                      <a:pt x="605" y="471"/>
                    </a:lnTo>
                    <a:lnTo>
                      <a:pt x="595" y="493"/>
                    </a:lnTo>
                    <a:lnTo>
                      <a:pt x="586" y="515"/>
                    </a:lnTo>
                    <a:lnTo>
                      <a:pt x="575" y="535"/>
                    </a:lnTo>
                    <a:lnTo>
                      <a:pt x="564" y="555"/>
                    </a:lnTo>
                    <a:lnTo>
                      <a:pt x="551" y="573"/>
                    </a:lnTo>
                    <a:lnTo>
                      <a:pt x="538" y="592"/>
                    </a:lnTo>
                    <a:lnTo>
                      <a:pt x="524" y="608"/>
                    </a:lnTo>
                    <a:lnTo>
                      <a:pt x="509" y="623"/>
                    </a:lnTo>
                    <a:lnTo>
                      <a:pt x="492" y="637"/>
                    </a:lnTo>
                    <a:lnTo>
                      <a:pt x="492" y="637"/>
                    </a:lnTo>
                    <a:lnTo>
                      <a:pt x="480" y="646"/>
                    </a:lnTo>
                    <a:lnTo>
                      <a:pt x="468" y="653"/>
                    </a:lnTo>
                    <a:lnTo>
                      <a:pt x="455" y="661"/>
                    </a:lnTo>
                    <a:lnTo>
                      <a:pt x="442" y="668"/>
                    </a:lnTo>
                    <a:lnTo>
                      <a:pt x="429" y="673"/>
                    </a:lnTo>
                    <a:lnTo>
                      <a:pt x="415" y="678"/>
                    </a:lnTo>
                    <a:lnTo>
                      <a:pt x="402" y="683"/>
                    </a:lnTo>
                    <a:lnTo>
                      <a:pt x="388" y="687"/>
                    </a:lnTo>
                    <a:lnTo>
                      <a:pt x="375" y="690"/>
                    </a:lnTo>
                    <a:lnTo>
                      <a:pt x="361" y="692"/>
                    </a:lnTo>
                    <a:lnTo>
                      <a:pt x="333" y="696"/>
                    </a:lnTo>
                    <a:lnTo>
                      <a:pt x="306" y="697"/>
                    </a:lnTo>
                    <a:lnTo>
                      <a:pt x="278" y="695"/>
                    </a:lnTo>
                    <a:lnTo>
                      <a:pt x="251" y="691"/>
                    </a:lnTo>
                    <a:lnTo>
                      <a:pt x="222" y="684"/>
                    </a:lnTo>
                    <a:lnTo>
                      <a:pt x="196" y="675"/>
                    </a:lnTo>
                    <a:lnTo>
                      <a:pt x="171" y="663"/>
                    </a:lnTo>
                    <a:lnTo>
                      <a:pt x="147" y="650"/>
                    </a:lnTo>
                    <a:lnTo>
                      <a:pt x="135" y="643"/>
                    </a:lnTo>
                    <a:lnTo>
                      <a:pt x="123" y="634"/>
                    </a:lnTo>
                    <a:lnTo>
                      <a:pt x="112" y="625"/>
                    </a:lnTo>
                    <a:lnTo>
                      <a:pt x="100" y="616"/>
                    </a:lnTo>
                    <a:lnTo>
                      <a:pt x="91" y="606"/>
                    </a:lnTo>
                    <a:lnTo>
                      <a:pt x="80" y="595"/>
                    </a:lnTo>
                    <a:lnTo>
                      <a:pt x="80" y="595"/>
                    </a:lnTo>
                    <a:lnTo>
                      <a:pt x="80" y="591"/>
                    </a:lnTo>
                    <a:lnTo>
                      <a:pt x="82" y="582"/>
                    </a:lnTo>
                    <a:lnTo>
                      <a:pt x="85" y="569"/>
                    </a:lnTo>
                    <a:lnTo>
                      <a:pt x="91" y="552"/>
                    </a:lnTo>
                    <a:lnTo>
                      <a:pt x="99" y="532"/>
                    </a:lnTo>
                    <a:lnTo>
                      <a:pt x="109" y="508"/>
                    </a:lnTo>
                    <a:lnTo>
                      <a:pt x="121" y="483"/>
                    </a:lnTo>
                    <a:lnTo>
                      <a:pt x="135" y="455"/>
                    </a:lnTo>
                    <a:lnTo>
                      <a:pt x="152" y="427"/>
                    </a:lnTo>
                    <a:lnTo>
                      <a:pt x="171" y="397"/>
                    </a:lnTo>
                    <a:lnTo>
                      <a:pt x="191" y="366"/>
                    </a:lnTo>
                    <a:lnTo>
                      <a:pt x="214" y="336"/>
                    </a:lnTo>
                    <a:lnTo>
                      <a:pt x="239" y="305"/>
                    </a:lnTo>
                    <a:lnTo>
                      <a:pt x="266" y="276"/>
                    </a:lnTo>
                    <a:lnTo>
                      <a:pt x="280" y="262"/>
                    </a:lnTo>
                    <a:lnTo>
                      <a:pt x="294" y="248"/>
                    </a:lnTo>
                    <a:lnTo>
                      <a:pt x="310" y="234"/>
                    </a:lnTo>
                    <a:lnTo>
                      <a:pt x="325" y="222"/>
                    </a:lnTo>
                    <a:lnTo>
                      <a:pt x="325" y="2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3" name="Freeform 144">
                <a:extLst>
                  <a:ext uri="{FF2B5EF4-FFF2-40B4-BE49-F238E27FC236}">
                    <a16:creationId xmlns:a16="http://schemas.microsoft.com/office/drawing/2014/main" id="{79B18995-A882-2547-A14C-4752CB3324BC}"/>
                  </a:ext>
                </a:extLst>
              </p:cNvPr>
              <p:cNvSpPr>
                <a:spLocks/>
              </p:cNvSpPr>
              <p:nvPr/>
            </p:nvSpPr>
            <p:spPr bwMode="auto">
              <a:xfrm>
                <a:off x="9420329" y="2494366"/>
                <a:ext cx="187325" cy="125412"/>
              </a:xfrm>
              <a:custGeom>
                <a:avLst/>
                <a:gdLst>
                  <a:gd name="T0" fmla="*/ 286 w 589"/>
                  <a:gd name="T1" fmla="*/ 124 h 394"/>
                  <a:gd name="T2" fmla="*/ 188 w 589"/>
                  <a:gd name="T3" fmla="*/ 141 h 394"/>
                  <a:gd name="T4" fmla="*/ 101 w 589"/>
                  <a:gd name="T5" fmla="*/ 176 h 394"/>
                  <a:gd name="T6" fmla="*/ 76 w 589"/>
                  <a:gd name="T7" fmla="*/ 192 h 394"/>
                  <a:gd name="T8" fmla="*/ 131 w 589"/>
                  <a:gd name="T9" fmla="*/ 156 h 394"/>
                  <a:gd name="T10" fmla="*/ 195 w 589"/>
                  <a:gd name="T11" fmla="*/ 128 h 394"/>
                  <a:gd name="T12" fmla="*/ 246 w 589"/>
                  <a:gd name="T13" fmla="*/ 113 h 394"/>
                  <a:gd name="T14" fmla="*/ 301 w 589"/>
                  <a:gd name="T15" fmla="*/ 103 h 394"/>
                  <a:gd name="T16" fmla="*/ 339 w 589"/>
                  <a:gd name="T17" fmla="*/ 100 h 394"/>
                  <a:gd name="T18" fmla="*/ 438 w 589"/>
                  <a:gd name="T19" fmla="*/ 104 h 394"/>
                  <a:gd name="T20" fmla="*/ 529 w 589"/>
                  <a:gd name="T21" fmla="*/ 128 h 394"/>
                  <a:gd name="T22" fmla="*/ 584 w 589"/>
                  <a:gd name="T23" fmla="*/ 152 h 394"/>
                  <a:gd name="T24" fmla="*/ 566 w 589"/>
                  <a:gd name="T25" fmla="*/ 104 h 394"/>
                  <a:gd name="T26" fmla="*/ 537 w 589"/>
                  <a:gd name="T27" fmla="*/ 63 h 394"/>
                  <a:gd name="T28" fmla="*/ 499 w 589"/>
                  <a:gd name="T29" fmla="*/ 31 h 394"/>
                  <a:gd name="T30" fmla="*/ 452 w 589"/>
                  <a:gd name="T31" fmla="*/ 10 h 394"/>
                  <a:gd name="T32" fmla="*/ 401 w 589"/>
                  <a:gd name="T33" fmla="*/ 0 h 394"/>
                  <a:gd name="T34" fmla="*/ 358 w 589"/>
                  <a:gd name="T35" fmla="*/ 1 h 394"/>
                  <a:gd name="T36" fmla="*/ 289 w 589"/>
                  <a:gd name="T37" fmla="*/ 14 h 394"/>
                  <a:gd name="T38" fmla="*/ 227 w 589"/>
                  <a:gd name="T39" fmla="*/ 36 h 394"/>
                  <a:gd name="T40" fmla="*/ 173 w 589"/>
                  <a:gd name="T41" fmla="*/ 64 h 394"/>
                  <a:gd name="T42" fmla="*/ 128 w 589"/>
                  <a:gd name="T43" fmla="*/ 98 h 394"/>
                  <a:gd name="T44" fmla="*/ 68 w 589"/>
                  <a:gd name="T45" fmla="*/ 156 h 394"/>
                  <a:gd name="T46" fmla="*/ 22 w 589"/>
                  <a:gd name="T47" fmla="*/ 219 h 394"/>
                  <a:gd name="T48" fmla="*/ 0 w 589"/>
                  <a:gd name="T49" fmla="*/ 258 h 394"/>
                  <a:gd name="T50" fmla="*/ 23 w 589"/>
                  <a:gd name="T51" fmla="*/ 247 h 394"/>
                  <a:gd name="T52" fmla="*/ 56 w 589"/>
                  <a:gd name="T53" fmla="*/ 243 h 394"/>
                  <a:gd name="T54" fmla="*/ 92 w 589"/>
                  <a:gd name="T55" fmla="*/ 248 h 394"/>
                  <a:gd name="T56" fmla="*/ 140 w 589"/>
                  <a:gd name="T57" fmla="*/ 270 h 394"/>
                  <a:gd name="T58" fmla="*/ 241 w 589"/>
                  <a:gd name="T59" fmla="*/ 334 h 394"/>
                  <a:gd name="T60" fmla="*/ 321 w 589"/>
                  <a:gd name="T61" fmla="*/ 376 h 394"/>
                  <a:gd name="T62" fmla="*/ 361 w 589"/>
                  <a:gd name="T63" fmla="*/ 389 h 394"/>
                  <a:gd name="T64" fmla="*/ 402 w 589"/>
                  <a:gd name="T65" fmla="*/ 394 h 394"/>
                  <a:gd name="T66" fmla="*/ 439 w 589"/>
                  <a:gd name="T67" fmla="*/ 388 h 394"/>
                  <a:gd name="T68" fmla="*/ 489 w 589"/>
                  <a:gd name="T69" fmla="*/ 369 h 394"/>
                  <a:gd name="T70" fmla="*/ 531 w 589"/>
                  <a:gd name="T71" fmla="*/ 337 h 394"/>
                  <a:gd name="T72" fmla="*/ 564 w 589"/>
                  <a:gd name="T73" fmla="*/ 295 h 394"/>
                  <a:gd name="T74" fmla="*/ 583 w 589"/>
                  <a:gd name="T75" fmla="*/ 245 h 394"/>
                  <a:gd name="T76" fmla="*/ 589 w 589"/>
                  <a:gd name="T77" fmla="*/ 209 h 394"/>
                  <a:gd name="T78" fmla="*/ 567 w 589"/>
                  <a:gd name="T79" fmla="*/ 192 h 394"/>
                  <a:gd name="T80" fmla="*/ 507 w 589"/>
                  <a:gd name="T81" fmla="*/ 163 h 394"/>
                  <a:gd name="T82" fmla="*/ 445 w 589"/>
                  <a:gd name="T83" fmla="*/ 140 h 394"/>
                  <a:gd name="T84" fmla="*/ 372 w 589"/>
                  <a:gd name="T85" fmla="*/ 126 h 394"/>
                  <a:gd name="T86" fmla="*/ 320 w 589"/>
                  <a:gd name="T87" fmla="*/ 123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9" h="394">
                    <a:moveTo>
                      <a:pt x="320" y="123"/>
                    </a:moveTo>
                    <a:lnTo>
                      <a:pt x="320" y="123"/>
                    </a:lnTo>
                    <a:lnTo>
                      <a:pt x="286" y="124"/>
                    </a:lnTo>
                    <a:lnTo>
                      <a:pt x="252" y="128"/>
                    </a:lnTo>
                    <a:lnTo>
                      <a:pt x="220" y="134"/>
                    </a:lnTo>
                    <a:lnTo>
                      <a:pt x="188" y="141"/>
                    </a:lnTo>
                    <a:lnTo>
                      <a:pt x="158" y="151"/>
                    </a:lnTo>
                    <a:lnTo>
                      <a:pt x="129" y="163"/>
                    </a:lnTo>
                    <a:lnTo>
                      <a:pt x="101" y="176"/>
                    </a:lnTo>
                    <a:lnTo>
                      <a:pt x="88" y="183"/>
                    </a:lnTo>
                    <a:lnTo>
                      <a:pt x="76" y="192"/>
                    </a:lnTo>
                    <a:lnTo>
                      <a:pt x="76" y="192"/>
                    </a:lnTo>
                    <a:lnTo>
                      <a:pt x="89" y="182"/>
                    </a:lnTo>
                    <a:lnTo>
                      <a:pt x="103" y="173"/>
                    </a:lnTo>
                    <a:lnTo>
                      <a:pt x="131" y="156"/>
                    </a:lnTo>
                    <a:lnTo>
                      <a:pt x="162" y="141"/>
                    </a:lnTo>
                    <a:lnTo>
                      <a:pt x="178" y="135"/>
                    </a:lnTo>
                    <a:lnTo>
                      <a:pt x="195" y="128"/>
                    </a:lnTo>
                    <a:lnTo>
                      <a:pt x="211" y="123"/>
                    </a:lnTo>
                    <a:lnTo>
                      <a:pt x="228" y="117"/>
                    </a:lnTo>
                    <a:lnTo>
                      <a:pt x="246" y="113"/>
                    </a:lnTo>
                    <a:lnTo>
                      <a:pt x="264" y="109"/>
                    </a:lnTo>
                    <a:lnTo>
                      <a:pt x="282" y="105"/>
                    </a:lnTo>
                    <a:lnTo>
                      <a:pt x="301" y="103"/>
                    </a:lnTo>
                    <a:lnTo>
                      <a:pt x="319" y="101"/>
                    </a:lnTo>
                    <a:lnTo>
                      <a:pt x="339" y="100"/>
                    </a:lnTo>
                    <a:lnTo>
                      <a:pt x="339" y="100"/>
                    </a:lnTo>
                    <a:lnTo>
                      <a:pt x="372" y="99"/>
                    </a:lnTo>
                    <a:lnTo>
                      <a:pt x="406" y="101"/>
                    </a:lnTo>
                    <a:lnTo>
                      <a:pt x="438" y="104"/>
                    </a:lnTo>
                    <a:lnTo>
                      <a:pt x="469" y="111"/>
                    </a:lnTo>
                    <a:lnTo>
                      <a:pt x="500" y="118"/>
                    </a:lnTo>
                    <a:lnTo>
                      <a:pt x="529" y="128"/>
                    </a:lnTo>
                    <a:lnTo>
                      <a:pt x="557" y="139"/>
                    </a:lnTo>
                    <a:lnTo>
                      <a:pt x="584" y="152"/>
                    </a:lnTo>
                    <a:lnTo>
                      <a:pt x="584" y="152"/>
                    </a:lnTo>
                    <a:lnTo>
                      <a:pt x="580" y="136"/>
                    </a:lnTo>
                    <a:lnTo>
                      <a:pt x="573" y="119"/>
                    </a:lnTo>
                    <a:lnTo>
                      <a:pt x="566" y="104"/>
                    </a:lnTo>
                    <a:lnTo>
                      <a:pt x="557" y="89"/>
                    </a:lnTo>
                    <a:lnTo>
                      <a:pt x="547" y="76"/>
                    </a:lnTo>
                    <a:lnTo>
                      <a:pt x="537" y="63"/>
                    </a:lnTo>
                    <a:lnTo>
                      <a:pt x="525" y="51"/>
                    </a:lnTo>
                    <a:lnTo>
                      <a:pt x="512" y="40"/>
                    </a:lnTo>
                    <a:lnTo>
                      <a:pt x="499" y="31"/>
                    </a:lnTo>
                    <a:lnTo>
                      <a:pt x="484" y="23"/>
                    </a:lnTo>
                    <a:lnTo>
                      <a:pt x="468" y="15"/>
                    </a:lnTo>
                    <a:lnTo>
                      <a:pt x="452" y="10"/>
                    </a:lnTo>
                    <a:lnTo>
                      <a:pt x="436" y="5"/>
                    </a:lnTo>
                    <a:lnTo>
                      <a:pt x="419" y="2"/>
                    </a:lnTo>
                    <a:lnTo>
                      <a:pt x="401" y="0"/>
                    </a:lnTo>
                    <a:lnTo>
                      <a:pt x="383" y="0"/>
                    </a:lnTo>
                    <a:lnTo>
                      <a:pt x="383" y="0"/>
                    </a:lnTo>
                    <a:lnTo>
                      <a:pt x="358" y="1"/>
                    </a:lnTo>
                    <a:lnTo>
                      <a:pt x="334" y="5"/>
                    </a:lnTo>
                    <a:lnTo>
                      <a:pt x="311" y="9"/>
                    </a:lnTo>
                    <a:lnTo>
                      <a:pt x="289" y="14"/>
                    </a:lnTo>
                    <a:lnTo>
                      <a:pt x="267" y="21"/>
                    </a:lnTo>
                    <a:lnTo>
                      <a:pt x="247" y="27"/>
                    </a:lnTo>
                    <a:lnTo>
                      <a:pt x="227" y="36"/>
                    </a:lnTo>
                    <a:lnTo>
                      <a:pt x="208" y="45"/>
                    </a:lnTo>
                    <a:lnTo>
                      <a:pt x="191" y="54"/>
                    </a:lnTo>
                    <a:lnTo>
                      <a:pt x="173" y="64"/>
                    </a:lnTo>
                    <a:lnTo>
                      <a:pt x="157" y="75"/>
                    </a:lnTo>
                    <a:lnTo>
                      <a:pt x="142" y="86"/>
                    </a:lnTo>
                    <a:lnTo>
                      <a:pt x="128" y="98"/>
                    </a:lnTo>
                    <a:lnTo>
                      <a:pt x="114" y="110"/>
                    </a:lnTo>
                    <a:lnTo>
                      <a:pt x="90" y="132"/>
                    </a:lnTo>
                    <a:lnTo>
                      <a:pt x="68" y="156"/>
                    </a:lnTo>
                    <a:lnTo>
                      <a:pt x="50" y="179"/>
                    </a:lnTo>
                    <a:lnTo>
                      <a:pt x="34" y="200"/>
                    </a:lnTo>
                    <a:lnTo>
                      <a:pt x="22" y="219"/>
                    </a:lnTo>
                    <a:lnTo>
                      <a:pt x="12" y="235"/>
                    </a:lnTo>
                    <a:lnTo>
                      <a:pt x="6" y="247"/>
                    </a:lnTo>
                    <a:lnTo>
                      <a:pt x="0" y="258"/>
                    </a:lnTo>
                    <a:lnTo>
                      <a:pt x="0" y="258"/>
                    </a:lnTo>
                    <a:lnTo>
                      <a:pt x="11" y="252"/>
                    </a:lnTo>
                    <a:lnTo>
                      <a:pt x="23" y="247"/>
                    </a:lnTo>
                    <a:lnTo>
                      <a:pt x="34" y="244"/>
                    </a:lnTo>
                    <a:lnTo>
                      <a:pt x="45" y="243"/>
                    </a:lnTo>
                    <a:lnTo>
                      <a:pt x="56" y="243"/>
                    </a:lnTo>
                    <a:lnTo>
                      <a:pt x="68" y="244"/>
                    </a:lnTo>
                    <a:lnTo>
                      <a:pt x="80" y="245"/>
                    </a:lnTo>
                    <a:lnTo>
                      <a:pt x="92" y="248"/>
                    </a:lnTo>
                    <a:lnTo>
                      <a:pt x="104" y="253"/>
                    </a:lnTo>
                    <a:lnTo>
                      <a:pt x="116" y="258"/>
                    </a:lnTo>
                    <a:lnTo>
                      <a:pt x="140" y="270"/>
                    </a:lnTo>
                    <a:lnTo>
                      <a:pt x="165" y="284"/>
                    </a:lnTo>
                    <a:lnTo>
                      <a:pt x="191" y="301"/>
                    </a:lnTo>
                    <a:lnTo>
                      <a:pt x="241" y="334"/>
                    </a:lnTo>
                    <a:lnTo>
                      <a:pt x="268" y="349"/>
                    </a:lnTo>
                    <a:lnTo>
                      <a:pt x="294" y="364"/>
                    </a:lnTo>
                    <a:lnTo>
                      <a:pt x="321" y="376"/>
                    </a:lnTo>
                    <a:lnTo>
                      <a:pt x="334" y="382"/>
                    </a:lnTo>
                    <a:lnTo>
                      <a:pt x="348" y="386"/>
                    </a:lnTo>
                    <a:lnTo>
                      <a:pt x="361" y="389"/>
                    </a:lnTo>
                    <a:lnTo>
                      <a:pt x="375" y="393"/>
                    </a:lnTo>
                    <a:lnTo>
                      <a:pt x="388" y="394"/>
                    </a:lnTo>
                    <a:lnTo>
                      <a:pt x="402" y="394"/>
                    </a:lnTo>
                    <a:lnTo>
                      <a:pt x="402" y="394"/>
                    </a:lnTo>
                    <a:lnTo>
                      <a:pt x="421" y="393"/>
                    </a:lnTo>
                    <a:lnTo>
                      <a:pt x="439" y="388"/>
                    </a:lnTo>
                    <a:lnTo>
                      <a:pt x="457" y="384"/>
                    </a:lnTo>
                    <a:lnTo>
                      <a:pt x="474" y="378"/>
                    </a:lnTo>
                    <a:lnTo>
                      <a:pt x="489" y="369"/>
                    </a:lnTo>
                    <a:lnTo>
                      <a:pt x="504" y="360"/>
                    </a:lnTo>
                    <a:lnTo>
                      <a:pt x="518" y="349"/>
                    </a:lnTo>
                    <a:lnTo>
                      <a:pt x="531" y="337"/>
                    </a:lnTo>
                    <a:lnTo>
                      <a:pt x="543" y="324"/>
                    </a:lnTo>
                    <a:lnTo>
                      <a:pt x="554" y="310"/>
                    </a:lnTo>
                    <a:lnTo>
                      <a:pt x="564" y="295"/>
                    </a:lnTo>
                    <a:lnTo>
                      <a:pt x="571" y="280"/>
                    </a:lnTo>
                    <a:lnTo>
                      <a:pt x="579" y="263"/>
                    </a:lnTo>
                    <a:lnTo>
                      <a:pt x="583" y="245"/>
                    </a:lnTo>
                    <a:lnTo>
                      <a:pt x="587" y="228"/>
                    </a:lnTo>
                    <a:lnTo>
                      <a:pt x="589" y="209"/>
                    </a:lnTo>
                    <a:lnTo>
                      <a:pt x="589" y="209"/>
                    </a:lnTo>
                    <a:lnTo>
                      <a:pt x="587" y="207"/>
                    </a:lnTo>
                    <a:lnTo>
                      <a:pt x="583" y="203"/>
                    </a:lnTo>
                    <a:lnTo>
                      <a:pt x="567" y="192"/>
                    </a:lnTo>
                    <a:lnTo>
                      <a:pt x="541" y="178"/>
                    </a:lnTo>
                    <a:lnTo>
                      <a:pt x="525" y="170"/>
                    </a:lnTo>
                    <a:lnTo>
                      <a:pt x="507" y="163"/>
                    </a:lnTo>
                    <a:lnTo>
                      <a:pt x="487" y="155"/>
                    </a:lnTo>
                    <a:lnTo>
                      <a:pt x="466" y="148"/>
                    </a:lnTo>
                    <a:lnTo>
                      <a:pt x="445" y="140"/>
                    </a:lnTo>
                    <a:lnTo>
                      <a:pt x="421" y="135"/>
                    </a:lnTo>
                    <a:lnTo>
                      <a:pt x="397" y="129"/>
                    </a:lnTo>
                    <a:lnTo>
                      <a:pt x="372" y="126"/>
                    </a:lnTo>
                    <a:lnTo>
                      <a:pt x="346" y="123"/>
                    </a:lnTo>
                    <a:lnTo>
                      <a:pt x="320" y="123"/>
                    </a:lnTo>
                    <a:lnTo>
                      <a:pt x="320" y="1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4" name="Freeform 145">
                <a:extLst>
                  <a:ext uri="{FF2B5EF4-FFF2-40B4-BE49-F238E27FC236}">
                    <a16:creationId xmlns:a16="http://schemas.microsoft.com/office/drawing/2014/main" id="{C21A0171-3ABB-0146-A26D-49E8D587F637}"/>
                  </a:ext>
                </a:extLst>
              </p:cNvPr>
              <p:cNvSpPr>
                <a:spLocks/>
              </p:cNvSpPr>
              <p:nvPr/>
            </p:nvSpPr>
            <p:spPr bwMode="auto">
              <a:xfrm>
                <a:off x="9521929" y="2349903"/>
                <a:ext cx="98425" cy="131762"/>
              </a:xfrm>
              <a:custGeom>
                <a:avLst/>
                <a:gdLst>
                  <a:gd name="T0" fmla="*/ 191 w 311"/>
                  <a:gd name="T1" fmla="*/ 190 h 415"/>
                  <a:gd name="T2" fmla="*/ 167 w 311"/>
                  <a:gd name="T3" fmla="*/ 142 h 415"/>
                  <a:gd name="T4" fmla="*/ 139 w 311"/>
                  <a:gd name="T5" fmla="*/ 100 h 415"/>
                  <a:gd name="T6" fmla="*/ 106 w 311"/>
                  <a:gd name="T7" fmla="*/ 64 h 415"/>
                  <a:gd name="T8" fmla="*/ 70 w 311"/>
                  <a:gd name="T9" fmla="*/ 35 h 415"/>
                  <a:gd name="T10" fmla="*/ 91 w 311"/>
                  <a:gd name="T11" fmla="*/ 49 h 415"/>
                  <a:gd name="T12" fmla="*/ 131 w 311"/>
                  <a:gd name="T13" fmla="*/ 81 h 415"/>
                  <a:gd name="T14" fmla="*/ 168 w 311"/>
                  <a:gd name="T15" fmla="*/ 122 h 415"/>
                  <a:gd name="T16" fmla="*/ 199 w 311"/>
                  <a:gd name="T17" fmla="*/ 169 h 415"/>
                  <a:gd name="T18" fmla="*/ 212 w 311"/>
                  <a:gd name="T19" fmla="*/ 195 h 415"/>
                  <a:gd name="T20" fmla="*/ 231 w 311"/>
                  <a:gd name="T21" fmla="*/ 244 h 415"/>
                  <a:gd name="T22" fmla="*/ 244 w 311"/>
                  <a:gd name="T23" fmla="*/ 293 h 415"/>
                  <a:gd name="T24" fmla="*/ 249 w 311"/>
                  <a:gd name="T25" fmla="*/ 340 h 415"/>
                  <a:gd name="T26" fmla="*/ 248 w 311"/>
                  <a:gd name="T27" fmla="*/ 387 h 415"/>
                  <a:gd name="T28" fmla="*/ 258 w 311"/>
                  <a:gd name="T29" fmla="*/ 378 h 415"/>
                  <a:gd name="T30" fmla="*/ 276 w 311"/>
                  <a:gd name="T31" fmla="*/ 360 h 415"/>
                  <a:gd name="T32" fmla="*/ 291 w 311"/>
                  <a:gd name="T33" fmla="*/ 338 h 415"/>
                  <a:gd name="T34" fmla="*/ 302 w 311"/>
                  <a:gd name="T35" fmla="*/ 314 h 415"/>
                  <a:gd name="T36" fmla="*/ 309 w 311"/>
                  <a:gd name="T37" fmla="*/ 289 h 415"/>
                  <a:gd name="T38" fmla="*/ 311 w 311"/>
                  <a:gd name="T39" fmla="*/ 263 h 415"/>
                  <a:gd name="T40" fmla="*/ 309 w 311"/>
                  <a:gd name="T41" fmla="*/ 237 h 415"/>
                  <a:gd name="T42" fmla="*/ 302 w 311"/>
                  <a:gd name="T43" fmla="*/ 211 h 415"/>
                  <a:gd name="T44" fmla="*/ 297 w 311"/>
                  <a:gd name="T45" fmla="*/ 198 h 415"/>
                  <a:gd name="T46" fmla="*/ 279 w 311"/>
                  <a:gd name="T47" fmla="*/ 165 h 415"/>
                  <a:gd name="T48" fmla="*/ 259 w 311"/>
                  <a:gd name="T49" fmla="*/ 134 h 415"/>
                  <a:gd name="T50" fmla="*/ 237 w 311"/>
                  <a:gd name="T51" fmla="*/ 108 h 415"/>
                  <a:gd name="T52" fmla="*/ 213 w 311"/>
                  <a:gd name="T53" fmla="*/ 87 h 415"/>
                  <a:gd name="T54" fmla="*/ 190 w 311"/>
                  <a:gd name="T55" fmla="*/ 67 h 415"/>
                  <a:gd name="T56" fmla="*/ 165 w 311"/>
                  <a:gd name="T57" fmla="*/ 51 h 415"/>
                  <a:gd name="T58" fmla="*/ 116 w 311"/>
                  <a:gd name="T59" fmla="*/ 27 h 415"/>
                  <a:gd name="T60" fmla="*/ 71 w 311"/>
                  <a:gd name="T61" fmla="*/ 12 h 415"/>
                  <a:gd name="T62" fmla="*/ 34 w 311"/>
                  <a:gd name="T63" fmla="*/ 4 h 415"/>
                  <a:gd name="T64" fmla="*/ 0 w 311"/>
                  <a:gd name="T65" fmla="*/ 0 h 415"/>
                  <a:gd name="T66" fmla="*/ 8 w 311"/>
                  <a:gd name="T67" fmla="*/ 6 h 415"/>
                  <a:gd name="T68" fmla="*/ 20 w 311"/>
                  <a:gd name="T69" fmla="*/ 20 h 415"/>
                  <a:gd name="T70" fmla="*/ 27 w 311"/>
                  <a:gd name="T71" fmla="*/ 36 h 415"/>
                  <a:gd name="T72" fmla="*/ 33 w 311"/>
                  <a:gd name="T73" fmla="*/ 53 h 415"/>
                  <a:gd name="T74" fmla="*/ 34 w 311"/>
                  <a:gd name="T75" fmla="*/ 82 h 415"/>
                  <a:gd name="T76" fmla="*/ 30 w 311"/>
                  <a:gd name="T77" fmla="*/ 126 h 415"/>
                  <a:gd name="T78" fmla="*/ 18 w 311"/>
                  <a:gd name="T79" fmla="*/ 195 h 415"/>
                  <a:gd name="T80" fmla="*/ 11 w 311"/>
                  <a:gd name="T81" fmla="*/ 242 h 415"/>
                  <a:gd name="T82" fmla="*/ 11 w 311"/>
                  <a:gd name="T83" fmla="*/ 287 h 415"/>
                  <a:gd name="T84" fmla="*/ 14 w 311"/>
                  <a:gd name="T85" fmla="*/ 308 h 415"/>
                  <a:gd name="T86" fmla="*/ 22 w 311"/>
                  <a:gd name="T87" fmla="*/ 328 h 415"/>
                  <a:gd name="T88" fmla="*/ 28 w 311"/>
                  <a:gd name="T89" fmla="*/ 340 h 415"/>
                  <a:gd name="T90" fmla="*/ 45 w 311"/>
                  <a:gd name="T91" fmla="*/ 364 h 415"/>
                  <a:gd name="T92" fmla="*/ 65 w 311"/>
                  <a:gd name="T93" fmla="*/ 383 h 415"/>
                  <a:gd name="T94" fmla="*/ 88 w 311"/>
                  <a:gd name="T95" fmla="*/ 398 h 415"/>
                  <a:gd name="T96" fmla="*/ 113 w 311"/>
                  <a:gd name="T97" fmla="*/ 409 h 415"/>
                  <a:gd name="T98" fmla="*/ 140 w 311"/>
                  <a:gd name="T99" fmla="*/ 414 h 415"/>
                  <a:gd name="T100" fmla="*/ 167 w 311"/>
                  <a:gd name="T101" fmla="*/ 415 h 415"/>
                  <a:gd name="T102" fmla="*/ 194 w 311"/>
                  <a:gd name="T103" fmla="*/ 411 h 415"/>
                  <a:gd name="T104" fmla="*/ 208 w 311"/>
                  <a:gd name="T105" fmla="*/ 407 h 415"/>
                  <a:gd name="T106" fmla="*/ 210 w 311"/>
                  <a:gd name="T107" fmla="*/ 401 h 415"/>
                  <a:gd name="T108" fmla="*/ 216 w 311"/>
                  <a:gd name="T109" fmla="*/ 363 h 415"/>
                  <a:gd name="T110" fmla="*/ 217 w 311"/>
                  <a:gd name="T111" fmla="*/ 319 h 415"/>
                  <a:gd name="T112" fmla="*/ 214 w 311"/>
                  <a:gd name="T113" fmla="*/ 283 h 415"/>
                  <a:gd name="T114" fmla="*/ 208 w 311"/>
                  <a:gd name="T115" fmla="*/ 246 h 415"/>
                  <a:gd name="T116" fmla="*/ 198 w 311"/>
                  <a:gd name="T117" fmla="*/ 208 h 415"/>
                  <a:gd name="T118" fmla="*/ 191 w 311"/>
                  <a:gd name="T119" fmla="*/ 190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1" h="415">
                    <a:moveTo>
                      <a:pt x="191" y="190"/>
                    </a:moveTo>
                    <a:lnTo>
                      <a:pt x="191" y="190"/>
                    </a:lnTo>
                    <a:lnTo>
                      <a:pt x="180" y="166"/>
                    </a:lnTo>
                    <a:lnTo>
                      <a:pt x="167" y="142"/>
                    </a:lnTo>
                    <a:lnTo>
                      <a:pt x="154" y="120"/>
                    </a:lnTo>
                    <a:lnTo>
                      <a:pt x="139" y="100"/>
                    </a:lnTo>
                    <a:lnTo>
                      <a:pt x="123" y="81"/>
                    </a:lnTo>
                    <a:lnTo>
                      <a:pt x="106" y="64"/>
                    </a:lnTo>
                    <a:lnTo>
                      <a:pt x="88" y="49"/>
                    </a:lnTo>
                    <a:lnTo>
                      <a:pt x="70" y="35"/>
                    </a:lnTo>
                    <a:lnTo>
                      <a:pt x="70" y="35"/>
                    </a:lnTo>
                    <a:lnTo>
                      <a:pt x="91" y="49"/>
                    </a:lnTo>
                    <a:lnTo>
                      <a:pt x="112" y="64"/>
                    </a:lnTo>
                    <a:lnTo>
                      <a:pt x="131" y="81"/>
                    </a:lnTo>
                    <a:lnTo>
                      <a:pt x="150" y="101"/>
                    </a:lnTo>
                    <a:lnTo>
                      <a:pt x="168" y="122"/>
                    </a:lnTo>
                    <a:lnTo>
                      <a:pt x="184" y="145"/>
                    </a:lnTo>
                    <a:lnTo>
                      <a:pt x="199" y="169"/>
                    </a:lnTo>
                    <a:lnTo>
                      <a:pt x="212" y="195"/>
                    </a:lnTo>
                    <a:lnTo>
                      <a:pt x="212" y="195"/>
                    </a:lnTo>
                    <a:lnTo>
                      <a:pt x="223" y="220"/>
                    </a:lnTo>
                    <a:lnTo>
                      <a:pt x="231" y="244"/>
                    </a:lnTo>
                    <a:lnTo>
                      <a:pt x="238" y="268"/>
                    </a:lnTo>
                    <a:lnTo>
                      <a:pt x="244" y="293"/>
                    </a:lnTo>
                    <a:lnTo>
                      <a:pt x="247" y="316"/>
                    </a:lnTo>
                    <a:lnTo>
                      <a:pt x="249" y="340"/>
                    </a:lnTo>
                    <a:lnTo>
                      <a:pt x="249" y="364"/>
                    </a:lnTo>
                    <a:lnTo>
                      <a:pt x="248" y="387"/>
                    </a:lnTo>
                    <a:lnTo>
                      <a:pt x="248" y="387"/>
                    </a:lnTo>
                    <a:lnTo>
                      <a:pt x="258" y="378"/>
                    </a:lnTo>
                    <a:lnTo>
                      <a:pt x="267" y="370"/>
                    </a:lnTo>
                    <a:lnTo>
                      <a:pt x="276" y="360"/>
                    </a:lnTo>
                    <a:lnTo>
                      <a:pt x="284" y="349"/>
                    </a:lnTo>
                    <a:lnTo>
                      <a:pt x="291" y="338"/>
                    </a:lnTo>
                    <a:lnTo>
                      <a:pt x="297" y="326"/>
                    </a:lnTo>
                    <a:lnTo>
                      <a:pt x="302" y="314"/>
                    </a:lnTo>
                    <a:lnTo>
                      <a:pt x="305" y="302"/>
                    </a:lnTo>
                    <a:lnTo>
                      <a:pt x="309" y="289"/>
                    </a:lnTo>
                    <a:lnTo>
                      <a:pt x="310" y="276"/>
                    </a:lnTo>
                    <a:lnTo>
                      <a:pt x="311" y="263"/>
                    </a:lnTo>
                    <a:lnTo>
                      <a:pt x="310" y="250"/>
                    </a:lnTo>
                    <a:lnTo>
                      <a:pt x="309" y="237"/>
                    </a:lnTo>
                    <a:lnTo>
                      <a:pt x="305" y="224"/>
                    </a:lnTo>
                    <a:lnTo>
                      <a:pt x="302" y="211"/>
                    </a:lnTo>
                    <a:lnTo>
                      <a:pt x="297" y="198"/>
                    </a:lnTo>
                    <a:lnTo>
                      <a:pt x="297" y="198"/>
                    </a:lnTo>
                    <a:lnTo>
                      <a:pt x="288" y="181"/>
                    </a:lnTo>
                    <a:lnTo>
                      <a:pt x="279" y="165"/>
                    </a:lnTo>
                    <a:lnTo>
                      <a:pt x="268" y="149"/>
                    </a:lnTo>
                    <a:lnTo>
                      <a:pt x="259" y="134"/>
                    </a:lnTo>
                    <a:lnTo>
                      <a:pt x="248" y="121"/>
                    </a:lnTo>
                    <a:lnTo>
                      <a:pt x="237" y="108"/>
                    </a:lnTo>
                    <a:lnTo>
                      <a:pt x="225" y="97"/>
                    </a:lnTo>
                    <a:lnTo>
                      <a:pt x="213" y="87"/>
                    </a:lnTo>
                    <a:lnTo>
                      <a:pt x="201" y="77"/>
                    </a:lnTo>
                    <a:lnTo>
                      <a:pt x="190" y="67"/>
                    </a:lnTo>
                    <a:lnTo>
                      <a:pt x="177" y="58"/>
                    </a:lnTo>
                    <a:lnTo>
                      <a:pt x="165" y="51"/>
                    </a:lnTo>
                    <a:lnTo>
                      <a:pt x="140" y="38"/>
                    </a:lnTo>
                    <a:lnTo>
                      <a:pt x="116" y="27"/>
                    </a:lnTo>
                    <a:lnTo>
                      <a:pt x="92" y="18"/>
                    </a:lnTo>
                    <a:lnTo>
                      <a:pt x="71" y="12"/>
                    </a:lnTo>
                    <a:lnTo>
                      <a:pt x="51" y="7"/>
                    </a:lnTo>
                    <a:lnTo>
                      <a:pt x="34" y="4"/>
                    </a:lnTo>
                    <a:lnTo>
                      <a:pt x="9" y="1"/>
                    </a:lnTo>
                    <a:lnTo>
                      <a:pt x="0" y="0"/>
                    </a:lnTo>
                    <a:lnTo>
                      <a:pt x="0" y="0"/>
                    </a:lnTo>
                    <a:lnTo>
                      <a:pt x="8" y="6"/>
                    </a:lnTo>
                    <a:lnTo>
                      <a:pt x="14" y="13"/>
                    </a:lnTo>
                    <a:lnTo>
                      <a:pt x="20" y="20"/>
                    </a:lnTo>
                    <a:lnTo>
                      <a:pt x="24" y="28"/>
                    </a:lnTo>
                    <a:lnTo>
                      <a:pt x="27" y="36"/>
                    </a:lnTo>
                    <a:lnTo>
                      <a:pt x="31" y="44"/>
                    </a:lnTo>
                    <a:lnTo>
                      <a:pt x="33" y="53"/>
                    </a:lnTo>
                    <a:lnTo>
                      <a:pt x="34" y="63"/>
                    </a:lnTo>
                    <a:lnTo>
                      <a:pt x="34" y="82"/>
                    </a:lnTo>
                    <a:lnTo>
                      <a:pt x="33" y="104"/>
                    </a:lnTo>
                    <a:lnTo>
                      <a:pt x="30" y="126"/>
                    </a:lnTo>
                    <a:lnTo>
                      <a:pt x="26" y="148"/>
                    </a:lnTo>
                    <a:lnTo>
                      <a:pt x="18" y="195"/>
                    </a:lnTo>
                    <a:lnTo>
                      <a:pt x="13" y="219"/>
                    </a:lnTo>
                    <a:lnTo>
                      <a:pt x="11" y="242"/>
                    </a:lnTo>
                    <a:lnTo>
                      <a:pt x="10" y="264"/>
                    </a:lnTo>
                    <a:lnTo>
                      <a:pt x="11" y="287"/>
                    </a:lnTo>
                    <a:lnTo>
                      <a:pt x="12" y="298"/>
                    </a:lnTo>
                    <a:lnTo>
                      <a:pt x="14" y="308"/>
                    </a:lnTo>
                    <a:lnTo>
                      <a:pt x="18" y="317"/>
                    </a:lnTo>
                    <a:lnTo>
                      <a:pt x="22" y="328"/>
                    </a:lnTo>
                    <a:lnTo>
                      <a:pt x="22" y="328"/>
                    </a:lnTo>
                    <a:lnTo>
                      <a:pt x="28" y="340"/>
                    </a:lnTo>
                    <a:lnTo>
                      <a:pt x="36" y="353"/>
                    </a:lnTo>
                    <a:lnTo>
                      <a:pt x="45" y="364"/>
                    </a:lnTo>
                    <a:lnTo>
                      <a:pt x="54" y="374"/>
                    </a:lnTo>
                    <a:lnTo>
                      <a:pt x="65" y="383"/>
                    </a:lnTo>
                    <a:lnTo>
                      <a:pt x="76" y="391"/>
                    </a:lnTo>
                    <a:lnTo>
                      <a:pt x="88" y="398"/>
                    </a:lnTo>
                    <a:lnTo>
                      <a:pt x="100" y="403"/>
                    </a:lnTo>
                    <a:lnTo>
                      <a:pt x="113" y="409"/>
                    </a:lnTo>
                    <a:lnTo>
                      <a:pt x="126" y="412"/>
                    </a:lnTo>
                    <a:lnTo>
                      <a:pt x="140" y="414"/>
                    </a:lnTo>
                    <a:lnTo>
                      <a:pt x="153" y="415"/>
                    </a:lnTo>
                    <a:lnTo>
                      <a:pt x="167" y="415"/>
                    </a:lnTo>
                    <a:lnTo>
                      <a:pt x="181" y="414"/>
                    </a:lnTo>
                    <a:lnTo>
                      <a:pt x="194" y="411"/>
                    </a:lnTo>
                    <a:lnTo>
                      <a:pt x="208" y="407"/>
                    </a:lnTo>
                    <a:lnTo>
                      <a:pt x="208" y="407"/>
                    </a:lnTo>
                    <a:lnTo>
                      <a:pt x="209" y="405"/>
                    </a:lnTo>
                    <a:lnTo>
                      <a:pt x="210" y="401"/>
                    </a:lnTo>
                    <a:lnTo>
                      <a:pt x="213" y="386"/>
                    </a:lnTo>
                    <a:lnTo>
                      <a:pt x="216" y="363"/>
                    </a:lnTo>
                    <a:lnTo>
                      <a:pt x="217" y="335"/>
                    </a:lnTo>
                    <a:lnTo>
                      <a:pt x="217" y="319"/>
                    </a:lnTo>
                    <a:lnTo>
                      <a:pt x="216" y="301"/>
                    </a:lnTo>
                    <a:lnTo>
                      <a:pt x="214" y="283"/>
                    </a:lnTo>
                    <a:lnTo>
                      <a:pt x="212" y="264"/>
                    </a:lnTo>
                    <a:lnTo>
                      <a:pt x="208" y="246"/>
                    </a:lnTo>
                    <a:lnTo>
                      <a:pt x="204" y="228"/>
                    </a:lnTo>
                    <a:lnTo>
                      <a:pt x="198" y="208"/>
                    </a:lnTo>
                    <a:lnTo>
                      <a:pt x="191" y="190"/>
                    </a:lnTo>
                    <a:lnTo>
                      <a:pt x="191" y="1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5031791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id="{5665B547-BAA5-470B-8A52-5C58FDEE66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5" imgW="395" imgH="396" progId="TCLayout.ActiveDocument.1">
                  <p:embed/>
                </p:oleObj>
              </mc:Choice>
              <mc:Fallback>
                <p:oleObj name="Diapositiva de think-cell" r:id="rId5" imgW="395" imgH="396" progId="TCLayout.ActiveDocument.1">
                  <p:embed/>
                  <p:pic>
                    <p:nvPicPr>
                      <p:cNvPr id="6" name="Objeto 5" hidden="1">
                        <a:extLst>
                          <a:ext uri="{FF2B5EF4-FFF2-40B4-BE49-F238E27FC236}">
                            <a16:creationId xmlns:a16="http://schemas.microsoft.com/office/drawing/2014/main" id="{5665B547-BAA5-470B-8A52-5C58FDEE669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50DE3542-0992-4930-9939-79EC6E02AEC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20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9" name="Marcador de número de diapositiva 1">
            <a:extLst>
              <a:ext uri="{FF2B5EF4-FFF2-40B4-BE49-F238E27FC236}">
                <a16:creationId xmlns:a16="http://schemas.microsoft.com/office/drawing/2014/main" id="{F6B8DD96-326B-42CB-A609-1C07937C102D}"/>
              </a:ext>
            </a:extLst>
          </p:cNvPr>
          <p:cNvSpPr txBox="1">
            <a:spLocks/>
          </p:cNvSpPr>
          <p:nvPr/>
        </p:nvSpPr>
        <p:spPr>
          <a:xfrm>
            <a:off x="6858714" y="6522290"/>
            <a:ext cx="2133600" cy="337038"/>
          </a:xfrm>
          <a:prstGeom prst="rect">
            <a:avLst/>
          </a:prstGeom>
        </p:spPr>
        <p:txBody>
          <a:bodyPr/>
          <a:lstStyle>
            <a:defPPr>
              <a:defRPr lang="es-ES"/>
            </a:defPPr>
            <a:lvl1pPr marL="0" algn="r"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44061">
              <a:defRPr/>
            </a:pPr>
            <a:fld id="{F72BFCD6-C37F-4D4F-B6AD-71D3A36D527F}" type="slidenum">
              <a:rPr lang="es-ES" smtClean="0">
                <a:latin typeface="+mj-lt"/>
              </a:rPr>
              <a:pPr defTabSz="844061">
                <a:defRPr/>
              </a:pPr>
              <a:t>9</a:t>
            </a:fld>
            <a:endParaRPr lang="es-ES" dirty="0">
              <a:latin typeface="+mj-lt"/>
            </a:endParaRPr>
          </a:p>
        </p:txBody>
      </p:sp>
      <p:pic>
        <p:nvPicPr>
          <p:cNvPr id="11" name="Gráfico 10">
            <a:extLst>
              <a:ext uri="{FF2B5EF4-FFF2-40B4-BE49-F238E27FC236}">
                <a16:creationId xmlns:a16="http://schemas.microsoft.com/office/drawing/2014/main" id="{FCF8D245-C8B4-4482-A391-502D66A1D3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69013" y="1031425"/>
            <a:ext cx="3924154" cy="3573031"/>
          </a:xfrm>
          <a:prstGeom prst="rect">
            <a:avLst/>
          </a:prstGeom>
        </p:spPr>
      </p:pic>
      <p:sp>
        <p:nvSpPr>
          <p:cNvPr id="12" name="Elipse 11">
            <a:extLst>
              <a:ext uri="{FF2B5EF4-FFF2-40B4-BE49-F238E27FC236}">
                <a16:creationId xmlns:a16="http://schemas.microsoft.com/office/drawing/2014/main" id="{5F415B90-F1F6-4ECC-983E-EE11473A608E}"/>
              </a:ext>
            </a:extLst>
          </p:cNvPr>
          <p:cNvSpPr/>
          <p:nvPr/>
        </p:nvSpPr>
        <p:spPr>
          <a:xfrm>
            <a:off x="3655626" y="2065309"/>
            <a:ext cx="1526012" cy="15052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Forma libre: forma 12">
            <a:extLst>
              <a:ext uri="{FF2B5EF4-FFF2-40B4-BE49-F238E27FC236}">
                <a16:creationId xmlns:a16="http://schemas.microsoft.com/office/drawing/2014/main" id="{806DD846-751D-4852-BFBE-1E1C828CE15B}"/>
              </a:ext>
            </a:extLst>
          </p:cNvPr>
          <p:cNvSpPr/>
          <p:nvPr/>
        </p:nvSpPr>
        <p:spPr>
          <a:xfrm>
            <a:off x="3357367" y="1766766"/>
            <a:ext cx="4743065" cy="2859533"/>
          </a:xfrm>
          <a:custGeom>
            <a:avLst/>
            <a:gdLst>
              <a:gd name="connsiteX0" fmla="*/ 291953 w 4154115"/>
              <a:gd name="connsiteY0" fmla="*/ 285966 h 2504463"/>
              <a:gd name="connsiteX1" fmla="*/ 288733 w 4154115"/>
              <a:gd name="connsiteY1" fmla="*/ 1568834 h 2504463"/>
              <a:gd name="connsiteX2" fmla="*/ 271786 w 4154115"/>
              <a:gd name="connsiteY2" fmla="*/ 1585781 h 2504463"/>
              <a:gd name="connsiteX3" fmla="*/ 275006 w 4154115"/>
              <a:gd name="connsiteY3" fmla="*/ 269019 h 2504463"/>
              <a:gd name="connsiteX4" fmla="*/ 291953 w 4154115"/>
              <a:gd name="connsiteY4" fmla="*/ 285966 h 2504463"/>
              <a:gd name="connsiteX5" fmla="*/ 291953 w 4154115"/>
              <a:gd name="connsiteY5" fmla="*/ 285966 h 2504463"/>
              <a:gd name="connsiteX6" fmla="*/ 2438089 w 4154115"/>
              <a:gd name="connsiteY6" fmla="*/ 2238569 h 2504463"/>
              <a:gd name="connsiteX7" fmla="*/ 4123951 w 4154115"/>
              <a:gd name="connsiteY7" fmla="*/ 2238569 h 2504463"/>
              <a:gd name="connsiteX8" fmla="*/ 4154116 w 4154115"/>
              <a:gd name="connsiteY8" fmla="*/ 2268734 h 2504463"/>
              <a:gd name="connsiteX9" fmla="*/ 4154116 w 4154115"/>
              <a:gd name="connsiteY9" fmla="*/ 2474298 h 2504463"/>
              <a:gd name="connsiteX10" fmla="*/ 4123951 w 4154115"/>
              <a:gd name="connsiteY10" fmla="*/ 2504463 h 2504463"/>
              <a:gd name="connsiteX11" fmla="*/ 2438089 w 4154115"/>
              <a:gd name="connsiteY11" fmla="*/ 2504463 h 2504463"/>
              <a:gd name="connsiteX12" fmla="*/ 2407923 w 4154115"/>
              <a:gd name="connsiteY12" fmla="*/ 2474298 h 2504463"/>
              <a:gd name="connsiteX13" fmla="*/ 2407923 w 4154115"/>
              <a:gd name="connsiteY13" fmla="*/ 2431593 h 2504463"/>
              <a:gd name="connsiteX14" fmla="*/ 2359964 w 4154115"/>
              <a:gd name="connsiteY14" fmla="*/ 2383633 h 2504463"/>
              <a:gd name="connsiteX15" fmla="*/ 2112372 w 4154115"/>
              <a:gd name="connsiteY15" fmla="*/ 2383633 h 2504463"/>
              <a:gd name="connsiteX16" fmla="*/ 1949344 w 4154115"/>
              <a:gd name="connsiteY16" fmla="*/ 2302289 h 2504463"/>
              <a:gd name="connsiteX17" fmla="*/ 1527201 w 4154115"/>
              <a:gd name="connsiteY17" fmla="*/ 1742199 h 2504463"/>
              <a:gd name="connsiteX18" fmla="*/ 1540758 w 4154115"/>
              <a:gd name="connsiteY18" fmla="*/ 1597304 h 2504463"/>
              <a:gd name="connsiteX19" fmla="*/ 1572279 w 4154115"/>
              <a:gd name="connsiteY19" fmla="*/ 291558 h 2504463"/>
              <a:gd name="connsiteX20" fmla="*/ 1589226 w 4154115"/>
              <a:gd name="connsiteY20" fmla="*/ 274611 h 2504463"/>
              <a:gd name="connsiteX21" fmla="*/ 1556858 w 4154115"/>
              <a:gd name="connsiteY21" fmla="*/ 1615098 h 2504463"/>
              <a:gd name="connsiteX22" fmla="*/ 1546351 w 4154115"/>
              <a:gd name="connsiteY22" fmla="*/ 1727794 h 2504463"/>
              <a:gd name="connsiteX23" fmla="*/ 1968494 w 4154115"/>
              <a:gd name="connsiteY23" fmla="*/ 2287884 h 2504463"/>
              <a:gd name="connsiteX24" fmla="*/ 2112372 w 4154115"/>
              <a:gd name="connsiteY24" fmla="*/ 2359569 h 2504463"/>
              <a:gd name="connsiteX25" fmla="*/ 2359964 w 4154115"/>
              <a:gd name="connsiteY25" fmla="*/ 2359569 h 2504463"/>
              <a:gd name="connsiteX26" fmla="*/ 2407923 w 4154115"/>
              <a:gd name="connsiteY26" fmla="*/ 2311610 h 2504463"/>
              <a:gd name="connsiteX27" fmla="*/ 2407923 w 4154115"/>
              <a:gd name="connsiteY27" fmla="*/ 2268904 h 2504463"/>
              <a:gd name="connsiteX28" fmla="*/ 2438089 w 4154115"/>
              <a:gd name="connsiteY28" fmla="*/ 2238569 h 2504463"/>
              <a:gd name="connsiteX29" fmla="*/ 2438089 w 4154115"/>
              <a:gd name="connsiteY29" fmla="*/ 2238569 h 2504463"/>
              <a:gd name="connsiteX30" fmla="*/ 1344854 w 4154115"/>
              <a:gd name="connsiteY30" fmla="*/ 124124 h 2504463"/>
              <a:gd name="connsiteX31" fmla="*/ 497178 w 4154115"/>
              <a:gd name="connsiteY31" fmla="*/ 133106 h 2504463"/>
              <a:gd name="connsiteX32" fmla="*/ 485654 w 4154115"/>
              <a:gd name="connsiteY32" fmla="*/ 112092 h 2504463"/>
              <a:gd name="connsiteX33" fmla="*/ 1355869 w 4154115"/>
              <a:gd name="connsiteY33" fmla="*/ 102941 h 2504463"/>
              <a:gd name="connsiteX34" fmla="*/ 1344854 w 4154115"/>
              <a:gd name="connsiteY34" fmla="*/ 124124 h 2504463"/>
              <a:gd name="connsiteX35" fmla="*/ 1344854 w 4154115"/>
              <a:gd name="connsiteY35" fmla="*/ 124124 h 2504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154115" h="2504463">
                <a:moveTo>
                  <a:pt x="291953" y="285966"/>
                </a:moveTo>
                <a:cubicBezTo>
                  <a:pt x="-64098" y="638966"/>
                  <a:pt x="-65623" y="1213969"/>
                  <a:pt x="288733" y="1568834"/>
                </a:cubicBezTo>
                <a:lnTo>
                  <a:pt x="271786" y="1585781"/>
                </a:lnTo>
                <a:cubicBezTo>
                  <a:pt x="-91891" y="1221595"/>
                  <a:pt x="-90366" y="631510"/>
                  <a:pt x="275006" y="269019"/>
                </a:cubicBezTo>
                <a:lnTo>
                  <a:pt x="291953" y="285966"/>
                </a:lnTo>
                <a:lnTo>
                  <a:pt x="291953" y="285966"/>
                </a:lnTo>
                <a:close/>
                <a:moveTo>
                  <a:pt x="2438089" y="2238569"/>
                </a:moveTo>
                <a:lnTo>
                  <a:pt x="4123951" y="2238569"/>
                </a:lnTo>
                <a:cubicBezTo>
                  <a:pt x="4140558" y="2238569"/>
                  <a:pt x="4154116" y="2252126"/>
                  <a:pt x="4154116" y="2268734"/>
                </a:cubicBezTo>
                <a:lnTo>
                  <a:pt x="4154116" y="2474298"/>
                </a:lnTo>
                <a:cubicBezTo>
                  <a:pt x="4154116" y="2490906"/>
                  <a:pt x="4140558" y="2504463"/>
                  <a:pt x="4123951" y="2504463"/>
                </a:cubicBezTo>
                <a:lnTo>
                  <a:pt x="2438089" y="2504463"/>
                </a:lnTo>
                <a:cubicBezTo>
                  <a:pt x="2421481" y="2504463"/>
                  <a:pt x="2407923" y="2490906"/>
                  <a:pt x="2407923" y="2474298"/>
                </a:cubicBezTo>
                <a:lnTo>
                  <a:pt x="2407923" y="2431593"/>
                </a:lnTo>
                <a:cubicBezTo>
                  <a:pt x="2407923" y="2405156"/>
                  <a:pt x="2386401" y="2383633"/>
                  <a:pt x="2359964" y="2383633"/>
                </a:cubicBezTo>
                <a:lnTo>
                  <a:pt x="2112372" y="2383633"/>
                </a:lnTo>
                <a:cubicBezTo>
                  <a:pt x="2046280" y="2383633"/>
                  <a:pt x="1989169" y="2355163"/>
                  <a:pt x="1949344" y="2302289"/>
                </a:cubicBezTo>
                <a:lnTo>
                  <a:pt x="1527201" y="1742199"/>
                </a:lnTo>
                <a:cubicBezTo>
                  <a:pt x="1493477" y="1697460"/>
                  <a:pt x="1499408" y="1634926"/>
                  <a:pt x="1540758" y="1597304"/>
                </a:cubicBezTo>
                <a:cubicBezTo>
                  <a:pt x="1920704" y="1251591"/>
                  <a:pt x="1934093" y="656252"/>
                  <a:pt x="1572279" y="291558"/>
                </a:cubicBezTo>
                <a:lnTo>
                  <a:pt x="1589226" y="274611"/>
                </a:lnTo>
                <a:cubicBezTo>
                  <a:pt x="1960699" y="649134"/>
                  <a:pt x="1946972" y="1260064"/>
                  <a:pt x="1556858" y="1615098"/>
                </a:cubicBezTo>
                <a:cubicBezTo>
                  <a:pt x="1524490" y="1644586"/>
                  <a:pt x="1520083" y="1693054"/>
                  <a:pt x="1546351" y="1727794"/>
                </a:cubicBezTo>
                <a:lnTo>
                  <a:pt x="1968494" y="2287884"/>
                </a:lnTo>
                <a:cubicBezTo>
                  <a:pt x="2003743" y="2334657"/>
                  <a:pt x="2053906" y="2359569"/>
                  <a:pt x="2112372" y="2359569"/>
                </a:cubicBezTo>
                <a:lnTo>
                  <a:pt x="2359964" y="2359569"/>
                </a:lnTo>
                <a:cubicBezTo>
                  <a:pt x="2386401" y="2359569"/>
                  <a:pt x="2407923" y="2338047"/>
                  <a:pt x="2407923" y="2311610"/>
                </a:cubicBezTo>
                <a:lnTo>
                  <a:pt x="2407923" y="2268904"/>
                </a:lnTo>
                <a:cubicBezTo>
                  <a:pt x="2408093" y="2252126"/>
                  <a:pt x="2421481" y="2238569"/>
                  <a:pt x="2438089" y="2238569"/>
                </a:cubicBezTo>
                <a:lnTo>
                  <a:pt x="2438089" y="2238569"/>
                </a:lnTo>
                <a:close/>
                <a:moveTo>
                  <a:pt x="1344854" y="124124"/>
                </a:moveTo>
                <a:cubicBezTo>
                  <a:pt x="1080485" y="-12636"/>
                  <a:pt x="758666" y="-9247"/>
                  <a:pt x="497178" y="133106"/>
                </a:cubicBezTo>
                <a:lnTo>
                  <a:pt x="485654" y="112092"/>
                </a:lnTo>
                <a:cubicBezTo>
                  <a:pt x="754091" y="-33989"/>
                  <a:pt x="1084383" y="-37548"/>
                  <a:pt x="1355869" y="102941"/>
                </a:cubicBezTo>
                <a:lnTo>
                  <a:pt x="1344854" y="124124"/>
                </a:lnTo>
                <a:lnTo>
                  <a:pt x="1344854" y="124124"/>
                </a:lnTo>
                <a:close/>
              </a:path>
            </a:pathLst>
          </a:custGeom>
          <a:solidFill>
            <a:schemeClr val="accent5">
              <a:lumMod val="50000"/>
            </a:schemeClr>
          </a:solidFill>
          <a:ln w="16931" cap="flat">
            <a:noFill/>
            <a:prstDash val="solid"/>
            <a:miter/>
          </a:ln>
        </p:spPr>
        <p:txBody>
          <a:bodyPr rtlCol="0" anchor="ctr"/>
          <a:lstStyle/>
          <a:p>
            <a:endParaRPr lang="es-ES"/>
          </a:p>
        </p:txBody>
      </p:sp>
      <p:sp>
        <p:nvSpPr>
          <p:cNvPr id="14" name="Forma libre: forma 13">
            <a:extLst>
              <a:ext uri="{FF2B5EF4-FFF2-40B4-BE49-F238E27FC236}">
                <a16:creationId xmlns:a16="http://schemas.microsoft.com/office/drawing/2014/main" id="{75B731A8-06DD-456A-8BA3-277CE60F2EBD}"/>
              </a:ext>
            </a:extLst>
          </p:cNvPr>
          <p:cNvSpPr/>
          <p:nvPr/>
        </p:nvSpPr>
        <p:spPr>
          <a:xfrm>
            <a:off x="736643" y="1028672"/>
            <a:ext cx="3681990" cy="2664987"/>
          </a:xfrm>
          <a:custGeom>
            <a:avLst/>
            <a:gdLst>
              <a:gd name="connsiteX0" fmla="*/ 3224796 w 3224795"/>
              <a:gd name="connsiteY0" fmla="*/ 2334075 h 2334074"/>
              <a:gd name="connsiteX1" fmla="*/ 2527607 w 3224795"/>
              <a:gd name="connsiteY1" fmla="*/ 1277445 h 2334074"/>
              <a:gd name="connsiteX2" fmla="*/ 2702667 w 3224795"/>
              <a:gd name="connsiteY2" fmla="*/ 1025617 h 2334074"/>
              <a:gd name="connsiteX3" fmla="*/ 2711648 w 3224795"/>
              <a:gd name="connsiteY3" fmla="*/ 914277 h 2334074"/>
              <a:gd name="connsiteX4" fmla="*/ 2185791 w 3224795"/>
              <a:gd name="connsiteY4" fmla="*/ 216410 h 2334074"/>
              <a:gd name="connsiteX5" fmla="*/ 2041913 w 3224795"/>
              <a:gd name="connsiteY5" fmla="*/ 144725 h 2334074"/>
              <a:gd name="connsiteX6" fmla="*/ 1794321 w 3224795"/>
              <a:gd name="connsiteY6" fmla="*/ 144725 h 2334074"/>
              <a:gd name="connsiteX7" fmla="*/ 1746362 w 3224795"/>
              <a:gd name="connsiteY7" fmla="*/ 192854 h 2334074"/>
              <a:gd name="connsiteX8" fmla="*/ 1746362 w 3224795"/>
              <a:gd name="connsiteY8" fmla="*/ 235560 h 2334074"/>
              <a:gd name="connsiteX9" fmla="*/ 1716197 w 3224795"/>
              <a:gd name="connsiteY9" fmla="*/ 265725 h 2334074"/>
              <a:gd name="connsiteX10" fmla="*/ 30165 w 3224795"/>
              <a:gd name="connsiteY10" fmla="*/ 265725 h 2334074"/>
              <a:gd name="connsiteX11" fmla="*/ 0 w 3224795"/>
              <a:gd name="connsiteY11" fmla="*/ 235560 h 2334074"/>
              <a:gd name="connsiteX12" fmla="*/ 0 w 3224795"/>
              <a:gd name="connsiteY12" fmla="*/ 30165 h 2334074"/>
              <a:gd name="connsiteX13" fmla="*/ 30165 w 3224795"/>
              <a:gd name="connsiteY13" fmla="*/ 0 h 2334074"/>
              <a:gd name="connsiteX14" fmla="*/ 1716027 w 3224795"/>
              <a:gd name="connsiteY14" fmla="*/ 0 h 2334074"/>
              <a:gd name="connsiteX15" fmla="*/ 1746193 w 3224795"/>
              <a:gd name="connsiteY15" fmla="*/ 30165 h 2334074"/>
              <a:gd name="connsiteX16" fmla="*/ 1746193 w 3224795"/>
              <a:gd name="connsiteY16" fmla="*/ 72871 h 2334074"/>
              <a:gd name="connsiteX17" fmla="*/ 1794152 w 3224795"/>
              <a:gd name="connsiteY17" fmla="*/ 120830 h 2334074"/>
              <a:gd name="connsiteX18" fmla="*/ 2041744 w 3224795"/>
              <a:gd name="connsiteY18" fmla="*/ 120830 h 2334074"/>
              <a:gd name="connsiteX19" fmla="*/ 2204772 w 3224795"/>
              <a:gd name="connsiteY19" fmla="*/ 202175 h 2334074"/>
              <a:gd name="connsiteX20" fmla="*/ 2730629 w 3224795"/>
              <a:gd name="connsiteY20" fmla="*/ 900041 h 2334074"/>
              <a:gd name="connsiteX21" fmla="*/ 2719105 w 3224795"/>
              <a:gd name="connsiteY21" fmla="*/ 1043072 h 2334074"/>
              <a:gd name="connsiteX22" fmla="*/ 2705209 w 3224795"/>
              <a:gd name="connsiteY22" fmla="*/ 2094956 h 2334074"/>
              <a:gd name="connsiteX23" fmla="*/ 3224626 w 3224795"/>
              <a:gd name="connsiteY23" fmla="*/ 2310180 h 2334074"/>
              <a:gd name="connsiteX24" fmla="*/ 3224626 w 3224795"/>
              <a:gd name="connsiteY24" fmla="*/ 2334075 h 2334074"/>
              <a:gd name="connsiteX25" fmla="*/ 3224796 w 3224795"/>
              <a:gd name="connsiteY25" fmla="*/ 2334075 h 2334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24795" h="2334074">
                <a:moveTo>
                  <a:pt x="3224796" y="2334075"/>
                </a:moveTo>
                <a:cubicBezTo>
                  <a:pt x="2679619" y="2334075"/>
                  <a:pt x="2313400" y="1775002"/>
                  <a:pt x="2527607" y="1277445"/>
                </a:cubicBezTo>
                <a:cubicBezTo>
                  <a:pt x="2568110" y="1183222"/>
                  <a:pt x="2627593" y="1097471"/>
                  <a:pt x="2702667" y="1025617"/>
                </a:cubicBezTo>
                <a:cubicBezTo>
                  <a:pt x="2733679" y="995960"/>
                  <a:pt x="2737408" y="948509"/>
                  <a:pt x="2711648" y="914277"/>
                </a:cubicBezTo>
                <a:lnTo>
                  <a:pt x="2185791" y="216410"/>
                </a:lnTo>
                <a:cubicBezTo>
                  <a:pt x="2150542" y="169637"/>
                  <a:pt x="2100549" y="144725"/>
                  <a:pt x="2041913" y="144725"/>
                </a:cubicBezTo>
                <a:lnTo>
                  <a:pt x="1794321" y="144725"/>
                </a:lnTo>
                <a:cubicBezTo>
                  <a:pt x="1767884" y="144725"/>
                  <a:pt x="1746362" y="166248"/>
                  <a:pt x="1746362" y="192854"/>
                </a:cubicBezTo>
                <a:lnTo>
                  <a:pt x="1746362" y="235560"/>
                </a:lnTo>
                <a:cubicBezTo>
                  <a:pt x="1746362" y="252168"/>
                  <a:pt x="1732805" y="265725"/>
                  <a:pt x="1716197" y="265725"/>
                </a:cubicBezTo>
                <a:lnTo>
                  <a:pt x="30165" y="265725"/>
                </a:lnTo>
                <a:cubicBezTo>
                  <a:pt x="13557" y="265725"/>
                  <a:pt x="0" y="252168"/>
                  <a:pt x="0" y="235560"/>
                </a:cubicBezTo>
                <a:lnTo>
                  <a:pt x="0" y="30165"/>
                </a:lnTo>
                <a:cubicBezTo>
                  <a:pt x="169" y="13557"/>
                  <a:pt x="13727" y="0"/>
                  <a:pt x="30165" y="0"/>
                </a:cubicBezTo>
                <a:lnTo>
                  <a:pt x="1716027" y="0"/>
                </a:lnTo>
                <a:cubicBezTo>
                  <a:pt x="1732635" y="0"/>
                  <a:pt x="1746193" y="13557"/>
                  <a:pt x="1746193" y="30165"/>
                </a:cubicBezTo>
                <a:lnTo>
                  <a:pt x="1746193" y="72871"/>
                </a:lnTo>
                <a:cubicBezTo>
                  <a:pt x="1746193" y="99308"/>
                  <a:pt x="1767715" y="120830"/>
                  <a:pt x="1794152" y="120830"/>
                </a:cubicBezTo>
                <a:lnTo>
                  <a:pt x="2041744" y="120830"/>
                </a:lnTo>
                <a:cubicBezTo>
                  <a:pt x="2107836" y="120830"/>
                  <a:pt x="2164947" y="149301"/>
                  <a:pt x="2204772" y="202175"/>
                </a:cubicBezTo>
                <a:lnTo>
                  <a:pt x="2730629" y="900041"/>
                </a:lnTo>
                <a:cubicBezTo>
                  <a:pt x="2763675" y="943934"/>
                  <a:pt x="2758760" y="1004942"/>
                  <a:pt x="2719105" y="1043072"/>
                </a:cubicBezTo>
                <a:cubicBezTo>
                  <a:pt x="2419826" y="1329980"/>
                  <a:pt x="2412200" y="1801947"/>
                  <a:pt x="2705209" y="2094956"/>
                </a:cubicBezTo>
                <a:cubicBezTo>
                  <a:pt x="2838241" y="2227988"/>
                  <a:pt x="3021944" y="2310180"/>
                  <a:pt x="3224626" y="2310180"/>
                </a:cubicBezTo>
                <a:lnTo>
                  <a:pt x="3224626" y="2334075"/>
                </a:lnTo>
                <a:lnTo>
                  <a:pt x="3224796" y="2334075"/>
                </a:lnTo>
                <a:close/>
              </a:path>
            </a:pathLst>
          </a:custGeom>
          <a:solidFill>
            <a:schemeClr val="tx2"/>
          </a:solidFill>
          <a:ln w="16931" cap="flat">
            <a:noFill/>
            <a:prstDash val="solid"/>
            <a:miter/>
          </a:ln>
        </p:spPr>
        <p:txBody>
          <a:bodyPr rtlCol="0" anchor="ctr"/>
          <a:lstStyle/>
          <a:p>
            <a:endParaRPr lang="es-ES"/>
          </a:p>
        </p:txBody>
      </p:sp>
      <p:sp>
        <p:nvSpPr>
          <p:cNvPr id="15" name="Forma libre: forma 14">
            <a:extLst>
              <a:ext uri="{FF2B5EF4-FFF2-40B4-BE49-F238E27FC236}">
                <a16:creationId xmlns:a16="http://schemas.microsoft.com/office/drawing/2014/main" id="{D96A4D4F-A276-442F-B67B-C061A965C676}"/>
              </a:ext>
            </a:extLst>
          </p:cNvPr>
          <p:cNvSpPr/>
          <p:nvPr/>
        </p:nvSpPr>
        <p:spPr>
          <a:xfrm>
            <a:off x="3650271" y="1028672"/>
            <a:ext cx="4450742" cy="2567273"/>
          </a:xfrm>
          <a:custGeom>
            <a:avLst/>
            <a:gdLst>
              <a:gd name="connsiteX0" fmla="*/ 2151559 w 3898090"/>
              <a:gd name="connsiteY0" fmla="*/ 192854 h 2248493"/>
              <a:gd name="connsiteX1" fmla="*/ 2103599 w 3898090"/>
              <a:gd name="connsiteY1" fmla="*/ 144725 h 2248493"/>
              <a:gd name="connsiteX2" fmla="*/ 1856007 w 3898090"/>
              <a:gd name="connsiteY2" fmla="*/ 144725 h 2248493"/>
              <a:gd name="connsiteX3" fmla="*/ 1712130 w 3898090"/>
              <a:gd name="connsiteY3" fmla="*/ 216410 h 2248493"/>
              <a:gd name="connsiteX4" fmla="*/ 1135771 w 3898090"/>
              <a:gd name="connsiteY4" fmla="*/ 981216 h 2248493"/>
              <a:gd name="connsiteX5" fmla="*/ 994774 w 3898090"/>
              <a:gd name="connsiteY5" fmla="*/ 1009348 h 2248493"/>
              <a:gd name="connsiteX6" fmla="*/ 214037 w 3898090"/>
              <a:gd name="connsiteY6" fmla="*/ 1116112 h 2248493"/>
              <a:gd name="connsiteX7" fmla="*/ 214037 w 3898090"/>
              <a:gd name="connsiteY7" fmla="*/ 2034287 h 2248493"/>
              <a:gd name="connsiteX8" fmla="*/ 1132381 w 3898090"/>
              <a:gd name="connsiteY8" fmla="*/ 2034287 h 2248493"/>
              <a:gd name="connsiteX9" fmla="*/ 1322524 w 3898090"/>
              <a:gd name="connsiteY9" fmla="*/ 1575200 h 2248493"/>
              <a:gd name="connsiteX10" fmla="*/ 1346588 w 3898090"/>
              <a:gd name="connsiteY10" fmla="*/ 1575200 h 2248493"/>
              <a:gd name="connsiteX11" fmla="*/ 673294 w 3898090"/>
              <a:gd name="connsiteY11" fmla="*/ 2248494 h 2248493"/>
              <a:gd name="connsiteX12" fmla="*/ 0 w 3898090"/>
              <a:gd name="connsiteY12" fmla="*/ 1575200 h 2248493"/>
              <a:gd name="connsiteX13" fmla="*/ 850387 w 3898090"/>
              <a:gd name="connsiteY13" fmla="*/ 923597 h 2248493"/>
              <a:gd name="connsiteX14" fmla="*/ 1007145 w 3898090"/>
              <a:gd name="connsiteY14" fmla="*/ 988673 h 2248493"/>
              <a:gd name="connsiteX15" fmla="*/ 1116960 w 3898090"/>
              <a:gd name="connsiteY15" fmla="*/ 966812 h 2248493"/>
              <a:gd name="connsiteX16" fmla="*/ 1693319 w 3898090"/>
              <a:gd name="connsiteY16" fmla="*/ 202005 h 2248493"/>
              <a:gd name="connsiteX17" fmla="*/ 1856346 w 3898090"/>
              <a:gd name="connsiteY17" fmla="*/ 120661 h 2248493"/>
              <a:gd name="connsiteX18" fmla="*/ 2103938 w 3898090"/>
              <a:gd name="connsiteY18" fmla="*/ 120661 h 2248493"/>
              <a:gd name="connsiteX19" fmla="*/ 2151898 w 3898090"/>
              <a:gd name="connsiteY19" fmla="*/ 72702 h 2248493"/>
              <a:gd name="connsiteX20" fmla="*/ 2151898 w 3898090"/>
              <a:gd name="connsiteY20" fmla="*/ 30165 h 2248493"/>
              <a:gd name="connsiteX21" fmla="*/ 2182063 w 3898090"/>
              <a:gd name="connsiteY21" fmla="*/ 0 h 2248493"/>
              <a:gd name="connsiteX22" fmla="*/ 3867925 w 3898090"/>
              <a:gd name="connsiteY22" fmla="*/ 0 h 2248493"/>
              <a:gd name="connsiteX23" fmla="*/ 3898090 w 3898090"/>
              <a:gd name="connsiteY23" fmla="*/ 30165 h 2248493"/>
              <a:gd name="connsiteX24" fmla="*/ 3898090 w 3898090"/>
              <a:gd name="connsiteY24" fmla="*/ 235560 h 2248493"/>
              <a:gd name="connsiteX25" fmla="*/ 3867925 w 3898090"/>
              <a:gd name="connsiteY25" fmla="*/ 265725 h 2248493"/>
              <a:gd name="connsiteX26" fmla="*/ 2182063 w 3898090"/>
              <a:gd name="connsiteY26" fmla="*/ 265725 h 2248493"/>
              <a:gd name="connsiteX27" fmla="*/ 2151898 w 3898090"/>
              <a:gd name="connsiteY27" fmla="*/ 235560 h 2248493"/>
              <a:gd name="connsiteX28" fmla="*/ 2151898 w 3898090"/>
              <a:gd name="connsiteY28" fmla="*/ 192854 h 2248493"/>
              <a:gd name="connsiteX29" fmla="*/ 2151559 w 3898090"/>
              <a:gd name="connsiteY29" fmla="*/ 192854 h 2248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898090" h="2248493">
                <a:moveTo>
                  <a:pt x="2151559" y="192854"/>
                </a:moveTo>
                <a:cubicBezTo>
                  <a:pt x="2151559" y="166417"/>
                  <a:pt x="2130036" y="144725"/>
                  <a:pt x="2103599" y="144725"/>
                </a:cubicBezTo>
                <a:lnTo>
                  <a:pt x="1856007" y="144725"/>
                </a:lnTo>
                <a:cubicBezTo>
                  <a:pt x="1797372" y="144725"/>
                  <a:pt x="1747379" y="169637"/>
                  <a:pt x="1712130" y="216410"/>
                </a:cubicBezTo>
                <a:lnTo>
                  <a:pt x="1135771" y="981216"/>
                </a:lnTo>
                <a:cubicBezTo>
                  <a:pt x="1102555" y="1025278"/>
                  <a:pt x="1042225" y="1037310"/>
                  <a:pt x="994774" y="1009348"/>
                </a:cubicBezTo>
                <a:cubicBezTo>
                  <a:pt x="749046" y="864792"/>
                  <a:pt x="418585" y="911565"/>
                  <a:pt x="214037" y="1116112"/>
                </a:cubicBezTo>
                <a:cubicBezTo>
                  <a:pt x="-39655" y="1369636"/>
                  <a:pt x="-39655" y="1780764"/>
                  <a:pt x="214037" y="2034287"/>
                </a:cubicBezTo>
                <a:cubicBezTo>
                  <a:pt x="467730" y="2287980"/>
                  <a:pt x="878689" y="2287980"/>
                  <a:pt x="1132381" y="2034287"/>
                </a:cubicBezTo>
                <a:cubicBezTo>
                  <a:pt x="1249822" y="1916846"/>
                  <a:pt x="1322524" y="1754496"/>
                  <a:pt x="1322524" y="1575200"/>
                </a:cubicBezTo>
                <a:lnTo>
                  <a:pt x="1346588" y="1575200"/>
                </a:lnTo>
                <a:cubicBezTo>
                  <a:pt x="1346588" y="1947011"/>
                  <a:pt x="1045106" y="2248494"/>
                  <a:pt x="673294" y="2248494"/>
                </a:cubicBezTo>
                <a:cubicBezTo>
                  <a:pt x="301482" y="2248494"/>
                  <a:pt x="0" y="1947011"/>
                  <a:pt x="0" y="1575200"/>
                </a:cubicBezTo>
                <a:cubicBezTo>
                  <a:pt x="0" y="1128653"/>
                  <a:pt x="423330" y="812427"/>
                  <a:pt x="850387" y="923597"/>
                </a:cubicBezTo>
                <a:cubicBezTo>
                  <a:pt x="905973" y="938002"/>
                  <a:pt x="958169" y="959863"/>
                  <a:pt x="1007145" y="988673"/>
                </a:cubicBezTo>
                <a:cubicBezTo>
                  <a:pt x="1044089" y="1010365"/>
                  <a:pt x="1091201" y="1001044"/>
                  <a:pt x="1116960" y="966812"/>
                </a:cubicBezTo>
                <a:lnTo>
                  <a:pt x="1693319" y="202005"/>
                </a:lnTo>
                <a:cubicBezTo>
                  <a:pt x="1733144" y="149301"/>
                  <a:pt x="1790254" y="120661"/>
                  <a:pt x="1856346" y="120661"/>
                </a:cubicBezTo>
                <a:lnTo>
                  <a:pt x="2103938" y="120661"/>
                </a:lnTo>
                <a:cubicBezTo>
                  <a:pt x="2130375" y="120661"/>
                  <a:pt x="2151898" y="99138"/>
                  <a:pt x="2151898" y="72702"/>
                </a:cubicBezTo>
                <a:lnTo>
                  <a:pt x="2151898" y="30165"/>
                </a:lnTo>
                <a:cubicBezTo>
                  <a:pt x="2151898" y="13557"/>
                  <a:pt x="2165455" y="0"/>
                  <a:pt x="2182063" y="0"/>
                </a:cubicBezTo>
                <a:lnTo>
                  <a:pt x="3867925" y="0"/>
                </a:lnTo>
                <a:cubicBezTo>
                  <a:pt x="3884532" y="0"/>
                  <a:pt x="3898090" y="13557"/>
                  <a:pt x="3898090" y="30165"/>
                </a:cubicBezTo>
                <a:lnTo>
                  <a:pt x="3898090" y="235560"/>
                </a:lnTo>
                <a:cubicBezTo>
                  <a:pt x="3898090" y="252168"/>
                  <a:pt x="3884532" y="265725"/>
                  <a:pt x="3867925" y="265725"/>
                </a:cubicBezTo>
                <a:lnTo>
                  <a:pt x="2182063" y="265725"/>
                </a:lnTo>
                <a:cubicBezTo>
                  <a:pt x="2165455" y="265725"/>
                  <a:pt x="2151898" y="252168"/>
                  <a:pt x="2151898" y="235560"/>
                </a:cubicBezTo>
                <a:lnTo>
                  <a:pt x="2151898" y="192854"/>
                </a:lnTo>
                <a:lnTo>
                  <a:pt x="2151559" y="192854"/>
                </a:lnTo>
                <a:close/>
              </a:path>
            </a:pathLst>
          </a:custGeom>
          <a:solidFill>
            <a:schemeClr val="accent6"/>
          </a:solidFill>
          <a:ln w="16931" cap="flat">
            <a:noFill/>
            <a:prstDash val="solid"/>
            <a:miter/>
          </a:ln>
        </p:spPr>
        <p:txBody>
          <a:bodyPr rtlCol="0" anchor="ctr"/>
          <a:lstStyle/>
          <a:p>
            <a:endParaRPr lang="es-ES"/>
          </a:p>
        </p:txBody>
      </p:sp>
      <p:sp>
        <p:nvSpPr>
          <p:cNvPr id="16" name="Forma libre: forma 15">
            <a:extLst>
              <a:ext uri="{FF2B5EF4-FFF2-40B4-BE49-F238E27FC236}">
                <a16:creationId xmlns:a16="http://schemas.microsoft.com/office/drawing/2014/main" id="{AC04FE81-F015-4321-A9C8-8ADC247EB505}"/>
              </a:ext>
            </a:extLst>
          </p:cNvPr>
          <p:cNvSpPr/>
          <p:nvPr/>
        </p:nvSpPr>
        <p:spPr>
          <a:xfrm>
            <a:off x="736643" y="1863395"/>
            <a:ext cx="4645752" cy="2763291"/>
          </a:xfrm>
          <a:custGeom>
            <a:avLst/>
            <a:gdLst>
              <a:gd name="connsiteX0" fmla="*/ 1746193 w 4068886"/>
              <a:gd name="connsiteY0" fmla="*/ 2226809 h 2420171"/>
              <a:gd name="connsiteX1" fmla="*/ 1794152 w 4068886"/>
              <a:gd name="connsiteY1" fmla="*/ 2274768 h 2420171"/>
              <a:gd name="connsiteX2" fmla="*/ 2041744 w 4068886"/>
              <a:gd name="connsiteY2" fmla="*/ 2274768 h 2420171"/>
              <a:gd name="connsiteX3" fmla="*/ 2185622 w 4068886"/>
              <a:gd name="connsiteY3" fmla="*/ 2203084 h 2420171"/>
              <a:gd name="connsiteX4" fmla="*/ 2658944 w 4068886"/>
              <a:gd name="connsiteY4" fmla="*/ 1574868 h 2420171"/>
              <a:gd name="connsiteX5" fmla="*/ 2801466 w 4068886"/>
              <a:gd name="connsiteY5" fmla="*/ 1547753 h 2420171"/>
              <a:gd name="connsiteX6" fmla="*/ 3804544 w 4068886"/>
              <a:gd name="connsiteY6" fmla="*/ 1424212 h 2420171"/>
              <a:gd name="connsiteX7" fmla="*/ 3825050 w 4068886"/>
              <a:gd name="connsiteY7" fmla="*/ 285729 h 2420171"/>
              <a:gd name="connsiteX8" fmla="*/ 3842674 w 4068886"/>
              <a:gd name="connsiteY8" fmla="*/ 269461 h 2420171"/>
              <a:gd name="connsiteX9" fmla="*/ 3821660 w 4068886"/>
              <a:gd name="connsiteY9" fmla="*/ 1441328 h 2420171"/>
              <a:gd name="connsiteX10" fmla="*/ 2789265 w 4068886"/>
              <a:gd name="connsiteY10" fmla="*/ 1568428 h 2420171"/>
              <a:gd name="connsiteX11" fmla="*/ 2678263 w 4068886"/>
              <a:gd name="connsiteY11" fmla="*/ 1589612 h 2420171"/>
              <a:gd name="connsiteX12" fmla="*/ 2204941 w 4068886"/>
              <a:gd name="connsiteY12" fmla="*/ 2217827 h 2420171"/>
              <a:gd name="connsiteX13" fmla="*/ 2041913 w 4068886"/>
              <a:gd name="connsiteY13" fmla="*/ 2299172 h 2420171"/>
              <a:gd name="connsiteX14" fmla="*/ 1794321 w 4068886"/>
              <a:gd name="connsiteY14" fmla="*/ 2299172 h 2420171"/>
              <a:gd name="connsiteX15" fmla="*/ 1746362 w 4068886"/>
              <a:gd name="connsiteY15" fmla="*/ 2347300 h 2420171"/>
              <a:gd name="connsiteX16" fmla="*/ 1746362 w 4068886"/>
              <a:gd name="connsiteY16" fmla="*/ 2390006 h 2420171"/>
              <a:gd name="connsiteX17" fmla="*/ 1716197 w 4068886"/>
              <a:gd name="connsiteY17" fmla="*/ 2420171 h 2420171"/>
              <a:gd name="connsiteX18" fmla="*/ 30165 w 4068886"/>
              <a:gd name="connsiteY18" fmla="*/ 2420171 h 2420171"/>
              <a:gd name="connsiteX19" fmla="*/ 0 w 4068886"/>
              <a:gd name="connsiteY19" fmla="*/ 2390006 h 2420171"/>
              <a:gd name="connsiteX20" fmla="*/ 0 w 4068886"/>
              <a:gd name="connsiteY20" fmla="*/ 2184442 h 2420171"/>
              <a:gd name="connsiteX21" fmla="*/ 30165 w 4068886"/>
              <a:gd name="connsiteY21" fmla="*/ 2154277 h 2420171"/>
              <a:gd name="connsiteX22" fmla="*/ 1716027 w 4068886"/>
              <a:gd name="connsiteY22" fmla="*/ 2154277 h 2420171"/>
              <a:gd name="connsiteX23" fmla="*/ 1746193 w 4068886"/>
              <a:gd name="connsiteY23" fmla="*/ 2184442 h 2420171"/>
              <a:gd name="connsiteX24" fmla="*/ 1746193 w 4068886"/>
              <a:gd name="connsiteY24" fmla="*/ 2226809 h 2420171"/>
              <a:gd name="connsiteX25" fmla="*/ 1746193 w 4068886"/>
              <a:gd name="connsiteY25" fmla="*/ 2226809 h 2420171"/>
              <a:gd name="connsiteX26" fmla="*/ 3595591 w 4068886"/>
              <a:gd name="connsiteY26" fmla="*/ 112703 h 2420171"/>
              <a:gd name="connsiteX27" fmla="*/ 2844341 w 4068886"/>
              <a:gd name="connsiteY27" fmla="*/ 117618 h 2420171"/>
              <a:gd name="connsiteX28" fmla="*/ 2833326 w 4068886"/>
              <a:gd name="connsiteY28" fmla="*/ 96434 h 2420171"/>
              <a:gd name="connsiteX29" fmla="*/ 3606776 w 4068886"/>
              <a:gd name="connsiteY29" fmla="*/ 91520 h 2420171"/>
              <a:gd name="connsiteX30" fmla="*/ 3595591 w 4068886"/>
              <a:gd name="connsiteY30" fmla="*/ 112703 h 2420171"/>
              <a:gd name="connsiteX31" fmla="*/ 3595591 w 4068886"/>
              <a:gd name="connsiteY31" fmla="*/ 112703 h 2420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68886" h="2420171">
                <a:moveTo>
                  <a:pt x="1746193" y="2226809"/>
                </a:moveTo>
                <a:cubicBezTo>
                  <a:pt x="1746193" y="2253246"/>
                  <a:pt x="1767715" y="2274768"/>
                  <a:pt x="1794152" y="2274768"/>
                </a:cubicBezTo>
                <a:lnTo>
                  <a:pt x="2041744" y="2274768"/>
                </a:lnTo>
                <a:cubicBezTo>
                  <a:pt x="2100380" y="2274768"/>
                  <a:pt x="2150372" y="2249857"/>
                  <a:pt x="2185622" y="2203084"/>
                </a:cubicBezTo>
                <a:lnTo>
                  <a:pt x="2658944" y="1574868"/>
                </a:lnTo>
                <a:cubicBezTo>
                  <a:pt x="2692499" y="1530298"/>
                  <a:pt x="2753846" y="1518605"/>
                  <a:pt x="2801466" y="1547753"/>
                </a:cubicBezTo>
                <a:cubicBezTo>
                  <a:pt x="3119896" y="1742132"/>
                  <a:pt x="3539497" y="1689089"/>
                  <a:pt x="3804544" y="1424212"/>
                </a:cubicBezTo>
                <a:cubicBezTo>
                  <a:pt x="4117550" y="1111205"/>
                  <a:pt x="4125007" y="607887"/>
                  <a:pt x="3825050" y="285729"/>
                </a:cubicBezTo>
                <a:lnTo>
                  <a:pt x="3842674" y="269461"/>
                </a:lnTo>
                <a:cubicBezTo>
                  <a:pt x="4151444" y="601108"/>
                  <a:pt x="4143818" y="1119001"/>
                  <a:pt x="3821660" y="1441328"/>
                </a:cubicBezTo>
                <a:cubicBezTo>
                  <a:pt x="3548818" y="1714170"/>
                  <a:pt x="3117184" y="1768569"/>
                  <a:pt x="2789265" y="1568428"/>
                </a:cubicBezTo>
                <a:cubicBezTo>
                  <a:pt x="2752151" y="1545720"/>
                  <a:pt x="2704531" y="1554871"/>
                  <a:pt x="2678263" y="1589612"/>
                </a:cubicBezTo>
                <a:lnTo>
                  <a:pt x="2204941" y="2217827"/>
                </a:lnTo>
                <a:cubicBezTo>
                  <a:pt x="2165116" y="2270532"/>
                  <a:pt x="2108006" y="2299172"/>
                  <a:pt x="2041913" y="2299172"/>
                </a:cubicBezTo>
                <a:lnTo>
                  <a:pt x="1794321" y="2299172"/>
                </a:lnTo>
                <a:cubicBezTo>
                  <a:pt x="1767884" y="2299172"/>
                  <a:pt x="1746362" y="2320694"/>
                  <a:pt x="1746362" y="2347300"/>
                </a:cubicBezTo>
                <a:lnTo>
                  <a:pt x="1746362" y="2390006"/>
                </a:lnTo>
                <a:cubicBezTo>
                  <a:pt x="1746362" y="2406614"/>
                  <a:pt x="1732805" y="2420171"/>
                  <a:pt x="1716197" y="2420171"/>
                </a:cubicBezTo>
                <a:lnTo>
                  <a:pt x="30165" y="2420171"/>
                </a:lnTo>
                <a:cubicBezTo>
                  <a:pt x="13557" y="2420171"/>
                  <a:pt x="0" y="2406614"/>
                  <a:pt x="0" y="2390006"/>
                </a:cubicBezTo>
                <a:lnTo>
                  <a:pt x="0" y="2184442"/>
                </a:lnTo>
                <a:cubicBezTo>
                  <a:pt x="0" y="2167835"/>
                  <a:pt x="13557" y="2154277"/>
                  <a:pt x="30165" y="2154277"/>
                </a:cubicBezTo>
                <a:lnTo>
                  <a:pt x="1716027" y="2154277"/>
                </a:lnTo>
                <a:cubicBezTo>
                  <a:pt x="1732635" y="2154277"/>
                  <a:pt x="1746193" y="2167835"/>
                  <a:pt x="1746193" y="2184442"/>
                </a:cubicBezTo>
                <a:lnTo>
                  <a:pt x="1746193" y="2226809"/>
                </a:lnTo>
                <a:lnTo>
                  <a:pt x="1746193" y="2226809"/>
                </a:lnTo>
                <a:close/>
                <a:moveTo>
                  <a:pt x="3595591" y="112703"/>
                </a:moveTo>
                <a:cubicBezTo>
                  <a:pt x="3364437" y="-9822"/>
                  <a:pt x="3074478" y="-3213"/>
                  <a:pt x="2844341" y="117618"/>
                </a:cubicBezTo>
                <a:lnTo>
                  <a:pt x="2833326" y="96434"/>
                </a:lnTo>
                <a:cubicBezTo>
                  <a:pt x="3070411" y="-27955"/>
                  <a:pt x="3368843" y="-34564"/>
                  <a:pt x="3606776" y="91520"/>
                </a:cubicBezTo>
                <a:lnTo>
                  <a:pt x="3595591" y="112703"/>
                </a:lnTo>
                <a:lnTo>
                  <a:pt x="3595591" y="112703"/>
                </a:lnTo>
                <a:close/>
              </a:path>
            </a:pathLst>
          </a:custGeom>
          <a:solidFill>
            <a:schemeClr val="accent4"/>
          </a:solidFill>
          <a:ln w="16931" cap="flat">
            <a:noFill/>
            <a:prstDash val="solid"/>
            <a:miter/>
          </a:ln>
        </p:spPr>
        <p:txBody>
          <a:bodyPr rtlCol="0" anchor="ctr"/>
          <a:lstStyle/>
          <a:p>
            <a:endParaRPr lang="es-ES"/>
          </a:p>
        </p:txBody>
      </p:sp>
      <p:sp>
        <p:nvSpPr>
          <p:cNvPr id="17" name="CuadroTexto 16">
            <a:extLst>
              <a:ext uri="{FF2B5EF4-FFF2-40B4-BE49-F238E27FC236}">
                <a16:creationId xmlns:a16="http://schemas.microsoft.com/office/drawing/2014/main" id="{48E3394C-13C2-424A-9E7C-CD1632B14D86}"/>
              </a:ext>
            </a:extLst>
          </p:cNvPr>
          <p:cNvSpPr txBox="1"/>
          <p:nvPr/>
        </p:nvSpPr>
        <p:spPr>
          <a:xfrm>
            <a:off x="3559091" y="2269268"/>
            <a:ext cx="1744000" cy="1015663"/>
          </a:xfrm>
          <a:prstGeom prst="rect">
            <a:avLst/>
          </a:prstGeom>
          <a:noFill/>
        </p:spPr>
        <p:txBody>
          <a:bodyPr wrap="square" rtlCol="0">
            <a:spAutoFit/>
          </a:bodyPr>
          <a:lstStyle/>
          <a:p>
            <a:pPr algn="ctr"/>
            <a:r>
              <a:rPr lang="es-ES" sz="2000" b="1" dirty="0"/>
              <a:t>EL </a:t>
            </a:r>
            <a:r>
              <a:rPr lang="es-ES" b="1" dirty="0"/>
              <a:t>TELETRABAJO </a:t>
            </a:r>
            <a:r>
              <a:rPr lang="es-ES" sz="2000" b="1" dirty="0"/>
              <a:t>EN DATOS</a:t>
            </a:r>
          </a:p>
        </p:txBody>
      </p:sp>
      <p:sp>
        <p:nvSpPr>
          <p:cNvPr id="18" name="CuadroTexto 17">
            <a:extLst>
              <a:ext uri="{FF2B5EF4-FFF2-40B4-BE49-F238E27FC236}">
                <a16:creationId xmlns:a16="http://schemas.microsoft.com/office/drawing/2014/main" id="{B0F4379C-6703-4FD4-BF82-CF7165DCCA50}"/>
              </a:ext>
            </a:extLst>
          </p:cNvPr>
          <p:cNvSpPr txBox="1"/>
          <p:nvPr/>
        </p:nvSpPr>
        <p:spPr>
          <a:xfrm>
            <a:off x="2387517" y="3865580"/>
            <a:ext cx="4062231" cy="246221"/>
          </a:xfrm>
          <a:prstGeom prst="rect">
            <a:avLst/>
          </a:prstGeom>
          <a:solidFill>
            <a:schemeClr val="bg1"/>
          </a:solidFill>
        </p:spPr>
        <p:txBody>
          <a:bodyPr wrap="square" rtlCol="0">
            <a:spAutoFit/>
          </a:bodyPr>
          <a:lstStyle/>
          <a:p>
            <a:pPr algn="ctr"/>
            <a:r>
              <a:rPr lang="es-ES" sz="1000" i="1" dirty="0"/>
              <a:t>*Datos desde marzo 2020 a marzo 2022</a:t>
            </a:r>
          </a:p>
        </p:txBody>
      </p:sp>
      <p:sp>
        <p:nvSpPr>
          <p:cNvPr id="19" name="CuadroTexto 18">
            <a:extLst>
              <a:ext uri="{FF2B5EF4-FFF2-40B4-BE49-F238E27FC236}">
                <a16:creationId xmlns:a16="http://schemas.microsoft.com/office/drawing/2014/main" id="{04531E73-348A-4D26-9AC3-AA925390F890}"/>
              </a:ext>
            </a:extLst>
          </p:cNvPr>
          <p:cNvSpPr txBox="1"/>
          <p:nvPr/>
        </p:nvSpPr>
        <p:spPr>
          <a:xfrm>
            <a:off x="242761" y="1549149"/>
            <a:ext cx="3144990" cy="2359749"/>
          </a:xfrm>
          <a:prstGeom prst="rect">
            <a:avLst/>
          </a:prstGeom>
          <a:noFill/>
        </p:spPr>
        <p:txBody>
          <a:bodyPr wrap="square">
            <a:spAutoFit/>
          </a:bodyPr>
          <a:lstStyle/>
          <a:p>
            <a:pPr algn="l">
              <a:lnSpc>
                <a:spcPts val="3500"/>
              </a:lnSpc>
              <a:spcAft>
                <a:spcPts val="0"/>
              </a:spcAft>
            </a:pPr>
            <a:r>
              <a:rPr lang="es-ES" sz="2800" b="0" i="0" dirty="0">
                <a:solidFill>
                  <a:srgbClr val="201F1E"/>
                </a:solidFill>
                <a:effectLst/>
                <a:latin typeface="Calibri" panose="020F0502020204030204" pitchFamily="34" charset="0"/>
              </a:rPr>
              <a:t>Más de </a:t>
            </a:r>
            <a:r>
              <a:rPr lang="es-ES" sz="4000" b="1" dirty="0">
                <a:solidFill>
                  <a:schemeClr val="tx2"/>
                </a:solidFill>
                <a:latin typeface="Calibri" panose="020F0502020204030204" pitchFamily="34" charset="0"/>
              </a:rPr>
              <a:t>12.000 </a:t>
            </a:r>
            <a:r>
              <a:rPr lang="es-ES" sz="2800" b="1" i="0" dirty="0">
                <a:solidFill>
                  <a:srgbClr val="201F1E"/>
                </a:solidFill>
                <a:effectLst/>
                <a:latin typeface="Calibri" panose="020F0502020204030204" pitchFamily="34" charset="0"/>
              </a:rPr>
              <a:t>usuarios</a:t>
            </a:r>
            <a:r>
              <a:rPr lang="es-ES" sz="2800" b="0" i="0" dirty="0">
                <a:solidFill>
                  <a:srgbClr val="201F1E"/>
                </a:solidFill>
                <a:effectLst/>
                <a:latin typeface="Calibri" panose="020F0502020204030204" pitchFamily="34" charset="0"/>
              </a:rPr>
              <a:t> ya han teletrabajado con una media diaria de </a:t>
            </a:r>
            <a:r>
              <a:rPr lang="es-ES" sz="4000" b="1" dirty="0">
                <a:solidFill>
                  <a:schemeClr val="tx2"/>
                </a:solidFill>
                <a:latin typeface="Calibri" panose="020F0502020204030204" pitchFamily="34" charset="0"/>
              </a:rPr>
              <a:t>1.700</a:t>
            </a:r>
            <a:r>
              <a:rPr lang="es-ES" sz="2800" b="1" i="0" dirty="0">
                <a:solidFill>
                  <a:srgbClr val="201F1E"/>
                </a:solidFill>
                <a:effectLst/>
                <a:latin typeface="Calibri" panose="020F0502020204030204" pitchFamily="34" charset="0"/>
              </a:rPr>
              <a:t> usuarios.</a:t>
            </a:r>
          </a:p>
        </p:txBody>
      </p:sp>
      <p:sp>
        <p:nvSpPr>
          <p:cNvPr id="20" name="CuadroTexto 19">
            <a:extLst>
              <a:ext uri="{FF2B5EF4-FFF2-40B4-BE49-F238E27FC236}">
                <a16:creationId xmlns:a16="http://schemas.microsoft.com/office/drawing/2014/main" id="{3699EBC3-BECC-4293-BA77-BDDA33CF4439}"/>
              </a:ext>
            </a:extLst>
          </p:cNvPr>
          <p:cNvSpPr txBox="1"/>
          <p:nvPr/>
        </p:nvSpPr>
        <p:spPr>
          <a:xfrm>
            <a:off x="5513171" y="1549149"/>
            <a:ext cx="2718037" cy="1870256"/>
          </a:xfrm>
          <a:prstGeom prst="rect">
            <a:avLst/>
          </a:prstGeom>
          <a:noFill/>
        </p:spPr>
        <p:txBody>
          <a:bodyPr wrap="square">
            <a:spAutoFit/>
          </a:bodyPr>
          <a:lstStyle/>
          <a:p>
            <a:pPr algn="r">
              <a:lnSpc>
                <a:spcPts val="3500"/>
              </a:lnSpc>
              <a:spcAft>
                <a:spcPts val="0"/>
              </a:spcAft>
            </a:pPr>
            <a:r>
              <a:rPr lang="es-ES" sz="2800" b="0" i="0" dirty="0">
                <a:solidFill>
                  <a:srgbClr val="201F1E"/>
                </a:solidFill>
                <a:effectLst/>
                <a:latin typeface="Calibri" panose="020F0502020204030204" pitchFamily="34" charset="0"/>
              </a:rPr>
              <a:t>Más de </a:t>
            </a:r>
          </a:p>
          <a:p>
            <a:pPr algn="r">
              <a:lnSpc>
                <a:spcPts val="3500"/>
              </a:lnSpc>
              <a:spcAft>
                <a:spcPts val="0"/>
              </a:spcAft>
            </a:pPr>
            <a:r>
              <a:rPr lang="es-ES" sz="4000" b="1" dirty="0">
                <a:solidFill>
                  <a:schemeClr val="accent6"/>
                </a:solidFill>
                <a:latin typeface="Calibri" panose="020F0502020204030204" pitchFamily="34" charset="0"/>
              </a:rPr>
              <a:t>5,7 </a:t>
            </a:r>
            <a:r>
              <a:rPr lang="es-ES" sz="3200" b="0" i="0" dirty="0">
                <a:effectLst/>
                <a:latin typeface="Calibri" panose="020F0502020204030204" pitchFamily="34" charset="0"/>
              </a:rPr>
              <a:t>millones </a:t>
            </a:r>
            <a:r>
              <a:rPr lang="es-ES" sz="2800" b="0" i="0" dirty="0">
                <a:solidFill>
                  <a:srgbClr val="201F1E"/>
                </a:solidFill>
                <a:effectLst/>
                <a:latin typeface="Calibri" panose="020F0502020204030204" pitchFamily="34" charset="0"/>
              </a:rPr>
              <a:t>de </a:t>
            </a:r>
            <a:r>
              <a:rPr lang="es-ES" sz="2800" b="1" i="0" dirty="0">
                <a:solidFill>
                  <a:srgbClr val="201F1E"/>
                </a:solidFill>
                <a:effectLst/>
                <a:latin typeface="Calibri" panose="020F0502020204030204" pitchFamily="34" charset="0"/>
              </a:rPr>
              <a:t>horas de teletrabajo</a:t>
            </a:r>
            <a:r>
              <a:rPr lang="es-ES" sz="2800" b="0" i="0" dirty="0">
                <a:solidFill>
                  <a:srgbClr val="201F1E"/>
                </a:solidFill>
                <a:effectLst/>
                <a:latin typeface="Calibri" panose="020F0502020204030204" pitchFamily="34" charset="0"/>
              </a:rPr>
              <a:t>.</a:t>
            </a:r>
          </a:p>
        </p:txBody>
      </p:sp>
      <p:sp>
        <p:nvSpPr>
          <p:cNvPr id="21" name="CuadroTexto 20">
            <a:extLst>
              <a:ext uri="{FF2B5EF4-FFF2-40B4-BE49-F238E27FC236}">
                <a16:creationId xmlns:a16="http://schemas.microsoft.com/office/drawing/2014/main" id="{6D3F8900-7DEB-4A62-B754-04F2F2BFB948}"/>
              </a:ext>
            </a:extLst>
          </p:cNvPr>
          <p:cNvSpPr txBox="1"/>
          <p:nvPr/>
        </p:nvSpPr>
        <p:spPr>
          <a:xfrm>
            <a:off x="242761" y="4690988"/>
            <a:ext cx="3250163" cy="2319096"/>
          </a:xfrm>
          <a:prstGeom prst="rect">
            <a:avLst/>
          </a:prstGeom>
          <a:noFill/>
        </p:spPr>
        <p:txBody>
          <a:bodyPr wrap="square">
            <a:spAutoFit/>
          </a:bodyPr>
          <a:lstStyle/>
          <a:p>
            <a:pPr>
              <a:lnSpc>
                <a:spcPts val="3500"/>
              </a:lnSpc>
            </a:pPr>
            <a:r>
              <a:rPr lang="es-ES" sz="2800" dirty="0">
                <a:solidFill>
                  <a:srgbClr val="201F1E"/>
                </a:solidFill>
                <a:latin typeface="Calibri" panose="020F0502020204030204" pitchFamily="34" charset="0"/>
              </a:rPr>
              <a:t>Más de </a:t>
            </a:r>
          </a:p>
          <a:p>
            <a:pPr>
              <a:lnSpc>
                <a:spcPts val="3500"/>
              </a:lnSpc>
            </a:pPr>
            <a:r>
              <a:rPr lang="es-ES" sz="4000" b="1" dirty="0">
                <a:solidFill>
                  <a:schemeClr val="accent4"/>
                </a:solidFill>
                <a:latin typeface="Calibri" panose="020F0502020204030204" pitchFamily="34" charset="0"/>
              </a:rPr>
              <a:t>784.000</a:t>
            </a:r>
            <a:r>
              <a:rPr lang="es-ES" sz="2800" dirty="0">
                <a:solidFill>
                  <a:srgbClr val="201F1E"/>
                </a:solidFill>
                <a:latin typeface="Calibri" panose="020F0502020204030204" pitchFamily="34" charset="0"/>
              </a:rPr>
              <a:t> </a:t>
            </a:r>
          </a:p>
          <a:p>
            <a:pPr>
              <a:lnSpc>
                <a:spcPts val="3500"/>
              </a:lnSpc>
            </a:pPr>
            <a:r>
              <a:rPr lang="es-ES" sz="2800" dirty="0">
                <a:latin typeface="Calibri" panose="020F0502020204030204" pitchFamily="34" charset="0"/>
              </a:rPr>
              <a:t>horas de </a:t>
            </a:r>
            <a:r>
              <a:rPr lang="es-ES" sz="2800" b="1" dirty="0">
                <a:solidFill>
                  <a:srgbClr val="201F1E"/>
                </a:solidFill>
                <a:latin typeface="Calibri" panose="020F0502020204030204" pitchFamily="34" charset="0"/>
              </a:rPr>
              <a:t>videoconferencia.</a:t>
            </a:r>
          </a:p>
          <a:p>
            <a:pPr algn="l">
              <a:lnSpc>
                <a:spcPts val="3500"/>
              </a:lnSpc>
              <a:spcAft>
                <a:spcPts val="0"/>
              </a:spcAft>
            </a:pPr>
            <a:endParaRPr lang="es-ES" sz="2800" b="0" i="0" dirty="0">
              <a:solidFill>
                <a:srgbClr val="201F1E"/>
              </a:solidFill>
              <a:effectLst/>
              <a:latin typeface="Calibri" panose="020F0502020204030204" pitchFamily="34" charset="0"/>
            </a:endParaRPr>
          </a:p>
        </p:txBody>
      </p:sp>
      <p:sp>
        <p:nvSpPr>
          <p:cNvPr id="22" name="CuadroTexto 21">
            <a:extLst>
              <a:ext uri="{FF2B5EF4-FFF2-40B4-BE49-F238E27FC236}">
                <a16:creationId xmlns:a16="http://schemas.microsoft.com/office/drawing/2014/main" id="{7060E301-B3E1-47DA-9A8A-43527D43803A}"/>
              </a:ext>
            </a:extLst>
          </p:cNvPr>
          <p:cNvSpPr txBox="1"/>
          <p:nvPr/>
        </p:nvSpPr>
        <p:spPr>
          <a:xfrm>
            <a:off x="4747656" y="4690988"/>
            <a:ext cx="3679727" cy="2319096"/>
          </a:xfrm>
          <a:prstGeom prst="rect">
            <a:avLst/>
          </a:prstGeom>
          <a:noFill/>
        </p:spPr>
        <p:txBody>
          <a:bodyPr wrap="square">
            <a:spAutoFit/>
          </a:bodyPr>
          <a:lstStyle/>
          <a:p>
            <a:pPr algn="r">
              <a:lnSpc>
                <a:spcPts val="3500"/>
              </a:lnSpc>
            </a:pPr>
            <a:r>
              <a:rPr lang="es-ES" sz="2800" dirty="0">
                <a:solidFill>
                  <a:srgbClr val="201F1E"/>
                </a:solidFill>
                <a:latin typeface="Calibri" panose="020F0502020204030204" pitchFamily="34" charset="0"/>
              </a:rPr>
              <a:t>Más de </a:t>
            </a:r>
          </a:p>
          <a:p>
            <a:pPr algn="r">
              <a:lnSpc>
                <a:spcPts val="3500"/>
              </a:lnSpc>
            </a:pPr>
            <a:r>
              <a:rPr lang="es-ES" sz="4000" b="1" dirty="0">
                <a:solidFill>
                  <a:schemeClr val="accent5">
                    <a:lumMod val="50000"/>
                  </a:schemeClr>
                </a:solidFill>
                <a:latin typeface="Calibri" panose="020F0502020204030204" pitchFamily="34" charset="0"/>
              </a:rPr>
              <a:t>6.900 </a:t>
            </a:r>
            <a:r>
              <a:rPr lang="es-ES" sz="2800" b="1" dirty="0">
                <a:solidFill>
                  <a:srgbClr val="201F1E"/>
                </a:solidFill>
                <a:latin typeface="Calibri" panose="020F0502020204030204" pitchFamily="34" charset="0"/>
              </a:rPr>
              <a:t>vistas virtuales</a:t>
            </a:r>
            <a:r>
              <a:rPr lang="es-ES" sz="2800" dirty="0">
                <a:solidFill>
                  <a:srgbClr val="201F1E"/>
                </a:solidFill>
                <a:latin typeface="Calibri" panose="020F0502020204030204" pitchFamily="34" charset="0"/>
              </a:rPr>
              <a:t> de media al mes en territorio Ministerio.</a:t>
            </a:r>
          </a:p>
          <a:p>
            <a:pPr algn="r">
              <a:lnSpc>
                <a:spcPts val="3500"/>
              </a:lnSpc>
              <a:spcAft>
                <a:spcPts val="0"/>
              </a:spcAft>
            </a:pPr>
            <a:endParaRPr lang="es-ES" sz="2800" b="0" i="0" dirty="0">
              <a:solidFill>
                <a:srgbClr val="201F1E"/>
              </a:solidFill>
              <a:effectLst/>
              <a:latin typeface="Calibri" panose="020F0502020204030204" pitchFamily="34" charset="0"/>
            </a:endParaRPr>
          </a:p>
        </p:txBody>
      </p:sp>
      <p:sp>
        <p:nvSpPr>
          <p:cNvPr id="23" name="Elipse 22">
            <a:extLst>
              <a:ext uri="{FF2B5EF4-FFF2-40B4-BE49-F238E27FC236}">
                <a16:creationId xmlns:a16="http://schemas.microsoft.com/office/drawing/2014/main" id="{23CC26EA-15CB-425F-B583-E9069C0054EB}"/>
              </a:ext>
            </a:extLst>
          </p:cNvPr>
          <p:cNvSpPr/>
          <p:nvPr/>
        </p:nvSpPr>
        <p:spPr>
          <a:xfrm>
            <a:off x="724185" y="847009"/>
            <a:ext cx="684297" cy="684297"/>
          </a:xfrm>
          <a:prstGeom prst="ellipse">
            <a:avLst/>
          </a:prstGeom>
          <a:solidFill>
            <a:srgbClr val="074E8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4" name="Elipse 23">
            <a:extLst>
              <a:ext uri="{FF2B5EF4-FFF2-40B4-BE49-F238E27FC236}">
                <a16:creationId xmlns:a16="http://schemas.microsoft.com/office/drawing/2014/main" id="{DFF87660-13E0-4F05-9505-B6610A5E7928}"/>
              </a:ext>
            </a:extLst>
          </p:cNvPr>
          <p:cNvSpPr/>
          <p:nvPr/>
        </p:nvSpPr>
        <p:spPr>
          <a:xfrm>
            <a:off x="7462352" y="834078"/>
            <a:ext cx="684297" cy="684297"/>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5" name="Elipse 24">
            <a:extLst>
              <a:ext uri="{FF2B5EF4-FFF2-40B4-BE49-F238E27FC236}">
                <a16:creationId xmlns:a16="http://schemas.microsoft.com/office/drawing/2014/main" id="{D529AE2F-F90E-4F24-8AFB-4C0EDDCD4C38}"/>
              </a:ext>
            </a:extLst>
          </p:cNvPr>
          <p:cNvSpPr/>
          <p:nvPr/>
        </p:nvSpPr>
        <p:spPr>
          <a:xfrm>
            <a:off x="697837" y="4087293"/>
            <a:ext cx="684297" cy="684297"/>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6" name="Elipse 25">
            <a:extLst>
              <a:ext uri="{FF2B5EF4-FFF2-40B4-BE49-F238E27FC236}">
                <a16:creationId xmlns:a16="http://schemas.microsoft.com/office/drawing/2014/main" id="{5A94CA1B-FB20-4AEF-99D4-8CA5D53B9A2B}"/>
              </a:ext>
            </a:extLst>
          </p:cNvPr>
          <p:cNvSpPr/>
          <p:nvPr/>
        </p:nvSpPr>
        <p:spPr>
          <a:xfrm>
            <a:off x="7471863" y="4083327"/>
            <a:ext cx="684297" cy="684297"/>
          </a:xfrm>
          <a:prstGeom prst="ellipse">
            <a:avLst/>
          </a:prstGeom>
          <a:solidFill>
            <a:schemeClr val="accent5">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nvGrpSpPr>
          <p:cNvPr id="27" name="Grupo 26">
            <a:extLst>
              <a:ext uri="{FF2B5EF4-FFF2-40B4-BE49-F238E27FC236}">
                <a16:creationId xmlns:a16="http://schemas.microsoft.com/office/drawing/2014/main" id="{CA887357-B693-4EBD-AAD5-AA37FA756B95}"/>
              </a:ext>
            </a:extLst>
          </p:cNvPr>
          <p:cNvGrpSpPr/>
          <p:nvPr/>
        </p:nvGrpSpPr>
        <p:grpSpPr>
          <a:xfrm>
            <a:off x="797009" y="913239"/>
            <a:ext cx="555979" cy="579638"/>
            <a:chOff x="5852250" y="2333968"/>
            <a:chExt cx="748048" cy="779880"/>
          </a:xfrm>
        </p:grpSpPr>
        <p:sp>
          <p:nvSpPr>
            <p:cNvPr id="28" name="Forma libre: forma 27">
              <a:extLst>
                <a:ext uri="{FF2B5EF4-FFF2-40B4-BE49-F238E27FC236}">
                  <a16:creationId xmlns:a16="http://schemas.microsoft.com/office/drawing/2014/main" id="{496D003F-0B1D-4550-928D-C80925D20701}"/>
                </a:ext>
              </a:extLst>
            </p:cNvPr>
            <p:cNvSpPr/>
            <p:nvPr/>
          </p:nvSpPr>
          <p:spPr>
            <a:xfrm>
              <a:off x="6043241" y="2540875"/>
              <a:ext cx="366066" cy="334234"/>
            </a:xfrm>
            <a:custGeom>
              <a:avLst/>
              <a:gdLst>
                <a:gd name="connsiteX0" fmla="*/ 166688 w 219075"/>
                <a:gd name="connsiteY0" fmla="*/ 185738 h 200025"/>
                <a:gd name="connsiteX1" fmla="*/ 204788 w 219075"/>
                <a:gd name="connsiteY1" fmla="*/ 147638 h 200025"/>
                <a:gd name="connsiteX2" fmla="*/ 204788 w 219075"/>
                <a:gd name="connsiteY2" fmla="*/ 61913 h 200025"/>
                <a:gd name="connsiteX3" fmla="*/ 109538 w 219075"/>
                <a:gd name="connsiteY3" fmla="*/ 14288 h 200025"/>
                <a:gd name="connsiteX4" fmla="*/ 14288 w 219075"/>
                <a:gd name="connsiteY4" fmla="*/ 61913 h 200025"/>
                <a:gd name="connsiteX5" fmla="*/ 14288 w 219075"/>
                <a:gd name="connsiteY5" fmla="*/ 147638 h 200025"/>
                <a:gd name="connsiteX6" fmla="*/ 52388 w 219075"/>
                <a:gd name="connsiteY6" fmla="*/ 185738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075" h="200025">
                  <a:moveTo>
                    <a:pt x="166688" y="185738"/>
                  </a:moveTo>
                  <a:cubicBezTo>
                    <a:pt x="187262" y="185738"/>
                    <a:pt x="204788" y="166211"/>
                    <a:pt x="204788" y="147638"/>
                  </a:cubicBezTo>
                  <a:lnTo>
                    <a:pt x="204788" y="61913"/>
                  </a:lnTo>
                  <a:cubicBezTo>
                    <a:pt x="204788" y="30480"/>
                    <a:pt x="142589" y="14288"/>
                    <a:pt x="109538" y="14288"/>
                  </a:cubicBezTo>
                  <a:cubicBezTo>
                    <a:pt x="76486" y="14288"/>
                    <a:pt x="14288" y="30480"/>
                    <a:pt x="14288" y="61913"/>
                  </a:cubicBezTo>
                  <a:lnTo>
                    <a:pt x="14288" y="147638"/>
                  </a:lnTo>
                  <a:cubicBezTo>
                    <a:pt x="14288" y="166211"/>
                    <a:pt x="31813" y="185738"/>
                    <a:pt x="52388" y="185738"/>
                  </a:cubicBezTo>
                </a:path>
              </a:pathLst>
            </a:custGeom>
            <a:noFill/>
            <a:ln w="28575" cap="flat">
              <a:solidFill>
                <a:schemeClr val="bg1"/>
              </a:solidFill>
              <a:prstDash val="solid"/>
              <a:round/>
            </a:ln>
          </p:spPr>
          <p:txBody>
            <a:bodyPr rtlCol="0" anchor="ctr"/>
            <a:lstStyle/>
            <a:p>
              <a:endParaRPr lang="es-ES"/>
            </a:p>
          </p:txBody>
        </p:sp>
        <p:sp>
          <p:nvSpPr>
            <p:cNvPr id="29" name="Forma libre: forma 28">
              <a:extLst>
                <a:ext uri="{FF2B5EF4-FFF2-40B4-BE49-F238E27FC236}">
                  <a16:creationId xmlns:a16="http://schemas.microsoft.com/office/drawing/2014/main" id="{F22E11E7-3EEA-4C78-861B-86080D7A3C62}"/>
                </a:ext>
              </a:extLst>
            </p:cNvPr>
            <p:cNvSpPr/>
            <p:nvPr/>
          </p:nvSpPr>
          <p:spPr>
            <a:xfrm>
              <a:off x="6393391" y="2588622"/>
              <a:ext cx="206907" cy="318318"/>
            </a:xfrm>
            <a:custGeom>
              <a:avLst/>
              <a:gdLst>
                <a:gd name="connsiteX0" fmla="*/ 71438 w 123825"/>
                <a:gd name="connsiteY0" fmla="*/ 176213 h 190500"/>
                <a:gd name="connsiteX1" fmla="*/ 109538 w 123825"/>
                <a:gd name="connsiteY1" fmla="*/ 147638 h 190500"/>
                <a:gd name="connsiteX2" fmla="*/ 109538 w 123825"/>
                <a:gd name="connsiteY2" fmla="*/ 61913 h 190500"/>
                <a:gd name="connsiteX3" fmla="*/ 23813 w 123825"/>
                <a:gd name="connsiteY3" fmla="*/ 14288 h 190500"/>
                <a:gd name="connsiteX4" fmla="*/ 14288 w 123825"/>
                <a:gd name="connsiteY4" fmla="*/ 14764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190500">
                  <a:moveTo>
                    <a:pt x="71438" y="176213"/>
                  </a:moveTo>
                  <a:cubicBezTo>
                    <a:pt x="90011" y="176213"/>
                    <a:pt x="109538" y="166211"/>
                    <a:pt x="109538" y="147638"/>
                  </a:cubicBezTo>
                  <a:lnTo>
                    <a:pt x="109538" y="61913"/>
                  </a:lnTo>
                  <a:cubicBezTo>
                    <a:pt x="109538" y="30480"/>
                    <a:pt x="53626" y="14288"/>
                    <a:pt x="23813" y="14288"/>
                  </a:cubicBezTo>
                  <a:cubicBezTo>
                    <a:pt x="20860" y="14288"/>
                    <a:pt x="17621" y="14478"/>
                    <a:pt x="14288" y="14764"/>
                  </a:cubicBezTo>
                </a:path>
              </a:pathLst>
            </a:custGeom>
            <a:noFill/>
            <a:ln w="28575" cap="flat">
              <a:solidFill>
                <a:schemeClr val="bg1"/>
              </a:solidFill>
              <a:prstDash val="solid"/>
              <a:round/>
            </a:ln>
          </p:spPr>
          <p:txBody>
            <a:bodyPr rtlCol="0" anchor="ctr"/>
            <a:lstStyle/>
            <a:p>
              <a:endParaRPr lang="es-ES"/>
            </a:p>
          </p:txBody>
        </p:sp>
        <p:sp>
          <p:nvSpPr>
            <p:cNvPr id="30" name="Forma libre: forma 29">
              <a:extLst>
                <a:ext uri="{FF2B5EF4-FFF2-40B4-BE49-F238E27FC236}">
                  <a16:creationId xmlns:a16="http://schemas.microsoft.com/office/drawing/2014/main" id="{FEC54448-F290-4ECC-9AAD-A1CC150C7C51}"/>
                </a:ext>
              </a:extLst>
            </p:cNvPr>
            <p:cNvSpPr/>
            <p:nvPr/>
          </p:nvSpPr>
          <p:spPr>
            <a:xfrm>
              <a:off x="6138736" y="2333968"/>
              <a:ext cx="175075" cy="206907"/>
            </a:xfrm>
            <a:custGeom>
              <a:avLst/>
              <a:gdLst>
                <a:gd name="connsiteX0" fmla="*/ 52388 w 104775"/>
                <a:gd name="connsiteY0" fmla="*/ 109538 h 123825"/>
                <a:gd name="connsiteX1" fmla="*/ 90488 w 104775"/>
                <a:gd name="connsiteY1" fmla="*/ 71438 h 123825"/>
                <a:gd name="connsiteX2" fmla="*/ 90488 w 104775"/>
                <a:gd name="connsiteY2" fmla="*/ 52388 h 123825"/>
                <a:gd name="connsiteX3" fmla="*/ 52388 w 104775"/>
                <a:gd name="connsiteY3" fmla="*/ 14288 h 123825"/>
                <a:gd name="connsiteX4" fmla="*/ 14288 w 104775"/>
                <a:gd name="connsiteY4" fmla="*/ 52388 h 123825"/>
                <a:gd name="connsiteX5" fmla="*/ 14288 w 104775"/>
                <a:gd name="connsiteY5" fmla="*/ 71438 h 123825"/>
                <a:gd name="connsiteX6" fmla="*/ 52388 w 104775"/>
                <a:gd name="connsiteY6" fmla="*/ 109538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123825">
                  <a:moveTo>
                    <a:pt x="52388" y="109538"/>
                  </a:moveTo>
                  <a:cubicBezTo>
                    <a:pt x="74581" y="109538"/>
                    <a:pt x="90488" y="94012"/>
                    <a:pt x="90488" y="71438"/>
                  </a:cubicBezTo>
                  <a:lnTo>
                    <a:pt x="90488" y="52388"/>
                  </a:lnTo>
                  <a:cubicBezTo>
                    <a:pt x="90488" y="29813"/>
                    <a:pt x="74581" y="14288"/>
                    <a:pt x="52388" y="14288"/>
                  </a:cubicBezTo>
                  <a:cubicBezTo>
                    <a:pt x="30194" y="14288"/>
                    <a:pt x="14288" y="29813"/>
                    <a:pt x="14288" y="52388"/>
                  </a:cubicBezTo>
                  <a:lnTo>
                    <a:pt x="14288" y="71438"/>
                  </a:lnTo>
                  <a:cubicBezTo>
                    <a:pt x="14288" y="94012"/>
                    <a:pt x="30194" y="109538"/>
                    <a:pt x="52388" y="109538"/>
                  </a:cubicBezTo>
                  <a:close/>
                </a:path>
              </a:pathLst>
            </a:custGeom>
            <a:noFill/>
            <a:ln w="28575" cap="flat">
              <a:solidFill>
                <a:schemeClr val="bg1"/>
              </a:solidFill>
              <a:prstDash val="solid"/>
              <a:round/>
            </a:ln>
          </p:spPr>
          <p:txBody>
            <a:bodyPr rtlCol="0" anchor="ctr"/>
            <a:lstStyle/>
            <a:p>
              <a:endParaRPr lang="es-ES"/>
            </a:p>
          </p:txBody>
        </p:sp>
        <p:sp>
          <p:nvSpPr>
            <p:cNvPr id="31" name="Forma libre: forma 30">
              <a:extLst>
                <a:ext uri="{FF2B5EF4-FFF2-40B4-BE49-F238E27FC236}">
                  <a16:creationId xmlns:a16="http://schemas.microsoft.com/office/drawing/2014/main" id="{278BE661-37A0-4B70-BEA5-FF5DB8DFC176}"/>
                </a:ext>
              </a:extLst>
            </p:cNvPr>
            <p:cNvSpPr/>
            <p:nvPr/>
          </p:nvSpPr>
          <p:spPr>
            <a:xfrm>
              <a:off x="6488886" y="2700034"/>
              <a:ext cx="47748" cy="413814"/>
            </a:xfrm>
            <a:custGeom>
              <a:avLst/>
              <a:gdLst>
                <a:gd name="connsiteX0" fmla="*/ 14288 w 28575"/>
                <a:gd name="connsiteY0" fmla="*/ 233363 h 247650"/>
                <a:gd name="connsiteX1" fmla="*/ 14288 w 28575"/>
                <a:gd name="connsiteY1" fmla="*/ 14288 h 247650"/>
              </a:gdLst>
              <a:ahLst/>
              <a:cxnLst>
                <a:cxn ang="0">
                  <a:pos x="connsiteX0" y="connsiteY0"/>
                </a:cxn>
                <a:cxn ang="0">
                  <a:pos x="connsiteX1" y="connsiteY1"/>
                </a:cxn>
              </a:cxnLst>
              <a:rect l="l" t="t" r="r" b="b"/>
              <a:pathLst>
                <a:path w="28575" h="247650">
                  <a:moveTo>
                    <a:pt x="14288" y="233363"/>
                  </a:moveTo>
                  <a:lnTo>
                    <a:pt x="14288" y="14288"/>
                  </a:lnTo>
                </a:path>
              </a:pathLst>
            </a:custGeom>
            <a:ln w="28575" cap="flat">
              <a:solidFill>
                <a:schemeClr val="bg1"/>
              </a:solidFill>
              <a:prstDash val="solid"/>
              <a:round/>
            </a:ln>
          </p:spPr>
          <p:txBody>
            <a:bodyPr rtlCol="0" anchor="ctr"/>
            <a:lstStyle/>
            <a:p>
              <a:endParaRPr lang="es-ES"/>
            </a:p>
          </p:txBody>
        </p:sp>
        <p:sp>
          <p:nvSpPr>
            <p:cNvPr id="32" name="Forma libre: forma 31">
              <a:extLst>
                <a:ext uri="{FF2B5EF4-FFF2-40B4-BE49-F238E27FC236}">
                  <a16:creationId xmlns:a16="http://schemas.microsoft.com/office/drawing/2014/main" id="{896F28AC-FB62-48D8-9AD4-FE37C7E94545}"/>
                </a:ext>
              </a:extLst>
            </p:cNvPr>
            <p:cNvSpPr/>
            <p:nvPr/>
          </p:nvSpPr>
          <p:spPr>
            <a:xfrm>
              <a:off x="6297895" y="2652286"/>
              <a:ext cx="47748" cy="461561"/>
            </a:xfrm>
            <a:custGeom>
              <a:avLst/>
              <a:gdLst>
                <a:gd name="connsiteX0" fmla="*/ 14288 w 28575"/>
                <a:gd name="connsiteY0" fmla="*/ 261938 h 276225"/>
                <a:gd name="connsiteX1" fmla="*/ 14288 w 28575"/>
                <a:gd name="connsiteY1" fmla="*/ 14288 h 276225"/>
              </a:gdLst>
              <a:ahLst/>
              <a:cxnLst>
                <a:cxn ang="0">
                  <a:pos x="connsiteX0" y="connsiteY0"/>
                </a:cxn>
                <a:cxn ang="0">
                  <a:pos x="connsiteX1" y="connsiteY1"/>
                </a:cxn>
              </a:cxnLst>
              <a:rect l="l" t="t" r="r" b="b"/>
              <a:pathLst>
                <a:path w="28575" h="276225">
                  <a:moveTo>
                    <a:pt x="14288" y="261938"/>
                  </a:moveTo>
                  <a:lnTo>
                    <a:pt x="14288" y="14288"/>
                  </a:lnTo>
                </a:path>
              </a:pathLst>
            </a:custGeom>
            <a:ln w="28575" cap="flat">
              <a:solidFill>
                <a:schemeClr val="bg1"/>
              </a:solidFill>
              <a:prstDash val="solid"/>
              <a:round/>
            </a:ln>
          </p:spPr>
          <p:txBody>
            <a:bodyPr rtlCol="0" anchor="ctr"/>
            <a:lstStyle/>
            <a:p>
              <a:endParaRPr lang="es-ES"/>
            </a:p>
          </p:txBody>
        </p:sp>
        <p:sp>
          <p:nvSpPr>
            <p:cNvPr id="33" name="Forma libre: forma 32">
              <a:extLst>
                <a:ext uri="{FF2B5EF4-FFF2-40B4-BE49-F238E27FC236}">
                  <a16:creationId xmlns:a16="http://schemas.microsoft.com/office/drawing/2014/main" id="{1576A6AF-EFF9-461B-8883-FCAE70B074D7}"/>
                </a:ext>
              </a:extLst>
            </p:cNvPr>
            <p:cNvSpPr/>
            <p:nvPr/>
          </p:nvSpPr>
          <p:spPr>
            <a:xfrm>
              <a:off x="6106905" y="2652286"/>
              <a:ext cx="47748" cy="461561"/>
            </a:xfrm>
            <a:custGeom>
              <a:avLst/>
              <a:gdLst>
                <a:gd name="connsiteX0" fmla="*/ 14288 w 28575"/>
                <a:gd name="connsiteY0" fmla="*/ 14288 h 276225"/>
                <a:gd name="connsiteX1" fmla="*/ 14288 w 28575"/>
                <a:gd name="connsiteY1" fmla="*/ 261938 h 276225"/>
              </a:gdLst>
              <a:ahLst/>
              <a:cxnLst>
                <a:cxn ang="0">
                  <a:pos x="connsiteX0" y="connsiteY0"/>
                </a:cxn>
                <a:cxn ang="0">
                  <a:pos x="connsiteX1" y="connsiteY1"/>
                </a:cxn>
              </a:cxnLst>
              <a:rect l="l" t="t" r="r" b="b"/>
              <a:pathLst>
                <a:path w="28575" h="276225">
                  <a:moveTo>
                    <a:pt x="14288" y="14288"/>
                  </a:moveTo>
                  <a:lnTo>
                    <a:pt x="14288" y="261938"/>
                  </a:lnTo>
                </a:path>
              </a:pathLst>
            </a:custGeom>
            <a:ln w="28575" cap="flat">
              <a:solidFill>
                <a:schemeClr val="bg1"/>
              </a:solidFill>
              <a:prstDash val="solid"/>
              <a:round/>
            </a:ln>
          </p:spPr>
          <p:txBody>
            <a:bodyPr rtlCol="0" anchor="ctr"/>
            <a:lstStyle/>
            <a:p>
              <a:endParaRPr lang="es-ES"/>
            </a:p>
          </p:txBody>
        </p:sp>
        <p:sp>
          <p:nvSpPr>
            <p:cNvPr id="34" name="Forma libre: forma 33">
              <a:extLst>
                <a:ext uri="{FF2B5EF4-FFF2-40B4-BE49-F238E27FC236}">
                  <a16:creationId xmlns:a16="http://schemas.microsoft.com/office/drawing/2014/main" id="{3FFEA281-D99E-4F31-A029-7AA3C925B1BF}"/>
                </a:ext>
              </a:extLst>
            </p:cNvPr>
            <p:cNvSpPr/>
            <p:nvPr/>
          </p:nvSpPr>
          <p:spPr>
            <a:xfrm>
              <a:off x="6202400" y="2811445"/>
              <a:ext cx="47748" cy="302402"/>
            </a:xfrm>
            <a:custGeom>
              <a:avLst/>
              <a:gdLst>
                <a:gd name="connsiteX0" fmla="*/ 14288 w 28575"/>
                <a:gd name="connsiteY0" fmla="*/ 14288 h 180975"/>
                <a:gd name="connsiteX1" fmla="*/ 14288 w 28575"/>
                <a:gd name="connsiteY1" fmla="*/ 166688 h 180975"/>
              </a:gdLst>
              <a:ahLst/>
              <a:cxnLst>
                <a:cxn ang="0">
                  <a:pos x="connsiteX0" y="connsiteY0"/>
                </a:cxn>
                <a:cxn ang="0">
                  <a:pos x="connsiteX1" y="connsiteY1"/>
                </a:cxn>
              </a:cxnLst>
              <a:rect l="l" t="t" r="r" b="b"/>
              <a:pathLst>
                <a:path w="28575" h="180975">
                  <a:moveTo>
                    <a:pt x="14288" y="14288"/>
                  </a:moveTo>
                  <a:lnTo>
                    <a:pt x="14288" y="166688"/>
                  </a:lnTo>
                </a:path>
              </a:pathLst>
            </a:custGeom>
            <a:ln w="28575" cap="flat">
              <a:solidFill>
                <a:schemeClr val="bg1"/>
              </a:solidFill>
              <a:prstDash val="solid"/>
              <a:round/>
            </a:ln>
          </p:spPr>
          <p:txBody>
            <a:bodyPr rtlCol="0" anchor="ctr"/>
            <a:lstStyle/>
            <a:p>
              <a:endParaRPr lang="es-ES"/>
            </a:p>
          </p:txBody>
        </p:sp>
        <p:sp>
          <p:nvSpPr>
            <p:cNvPr id="35" name="Forma libre: forma 34">
              <a:extLst>
                <a:ext uri="{FF2B5EF4-FFF2-40B4-BE49-F238E27FC236}">
                  <a16:creationId xmlns:a16="http://schemas.microsoft.com/office/drawing/2014/main" id="{E3762405-EEAE-4F6C-8B5A-AFF9C7629649}"/>
                </a:ext>
              </a:extLst>
            </p:cNvPr>
            <p:cNvSpPr/>
            <p:nvPr/>
          </p:nvSpPr>
          <p:spPr>
            <a:xfrm>
              <a:off x="6345643" y="2381716"/>
              <a:ext cx="175075" cy="206907"/>
            </a:xfrm>
            <a:custGeom>
              <a:avLst/>
              <a:gdLst>
                <a:gd name="connsiteX0" fmla="*/ 52388 w 104775"/>
                <a:gd name="connsiteY0" fmla="*/ 109538 h 123825"/>
                <a:gd name="connsiteX1" fmla="*/ 90488 w 104775"/>
                <a:gd name="connsiteY1" fmla="*/ 71438 h 123825"/>
                <a:gd name="connsiteX2" fmla="*/ 90488 w 104775"/>
                <a:gd name="connsiteY2" fmla="*/ 52388 h 123825"/>
                <a:gd name="connsiteX3" fmla="*/ 52388 w 104775"/>
                <a:gd name="connsiteY3" fmla="*/ 14288 h 123825"/>
                <a:gd name="connsiteX4" fmla="*/ 14288 w 104775"/>
                <a:gd name="connsiteY4" fmla="*/ 52388 h 123825"/>
                <a:gd name="connsiteX5" fmla="*/ 14288 w 104775"/>
                <a:gd name="connsiteY5" fmla="*/ 71438 h 123825"/>
                <a:gd name="connsiteX6" fmla="*/ 52388 w 104775"/>
                <a:gd name="connsiteY6" fmla="*/ 109538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123825">
                  <a:moveTo>
                    <a:pt x="52388" y="109538"/>
                  </a:moveTo>
                  <a:cubicBezTo>
                    <a:pt x="74581" y="109538"/>
                    <a:pt x="90488" y="94012"/>
                    <a:pt x="90488" y="71438"/>
                  </a:cubicBezTo>
                  <a:lnTo>
                    <a:pt x="90488" y="52388"/>
                  </a:lnTo>
                  <a:cubicBezTo>
                    <a:pt x="90488" y="29813"/>
                    <a:pt x="74581" y="14288"/>
                    <a:pt x="52388" y="14288"/>
                  </a:cubicBezTo>
                  <a:cubicBezTo>
                    <a:pt x="30194" y="14288"/>
                    <a:pt x="14288" y="29813"/>
                    <a:pt x="14288" y="52388"/>
                  </a:cubicBezTo>
                  <a:lnTo>
                    <a:pt x="14288" y="71438"/>
                  </a:lnTo>
                  <a:cubicBezTo>
                    <a:pt x="14288" y="94012"/>
                    <a:pt x="30194" y="109538"/>
                    <a:pt x="52388" y="109538"/>
                  </a:cubicBezTo>
                  <a:close/>
                </a:path>
              </a:pathLst>
            </a:custGeom>
            <a:noFill/>
            <a:ln w="28575" cap="flat">
              <a:solidFill>
                <a:schemeClr val="bg1"/>
              </a:solidFill>
              <a:prstDash val="solid"/>
              <a:round/>
            </a:ln>
          </p:spPr>
          <p:txBody>
            <a:bodyPr rtlCol="0" anchor="ctr"/>
            <a:lstStyle/>
            <a:p>
              <a:endParaRPr lang="es-ES"/>
            </a:p>
          </p:txBody>
        </p:sp>
        <p:sp>
          <p:nvSpPr>
            <p:cNvPr id="36" name="Forma libre: forma 35">
              <a:extLst>
                <a:ext uri="{FF2B5EF4-FFF2-40B4-BE49-F238E27FC236}">
                  <a16:creationId xmlns:a16="http://schemas.microsoft.com/office/drawing/2014/main" id="{75388F6B-74FB-4B5F-A61C-7D1B8F5FC74A}"/>
                </a:ext>
              </a:extLst>
            </p:cNvPr>
            <p:cNvSpPr/>
            <p:nvPr/>
          </p:nvSpPr>
          <p:spPr>
            <a:xfrm>
              <a:off x="5852250" y="2588622"/>
              <a:ext cx="206907" cy="318318"/>
            </a:xfrm>
            <a:custGeom>
              <a:avLst/>
              <a:gdLst>
                <a:gd name="connsiteX0" fmla="*/ 52388 w 123825"/>
                <a:gd name="connsiteY0" fmla="*/ 176213 h 190500"/>
                <a:gd name="connsiteX1" fmla="*/ 14288 w 123825"/>
                <a:gd name="connsiteY1" fmla="*/ 147638 h 190500"/>
                <a:gd name="connsiteX2" fmla="*/ 14288 w 123825"/>
                <a:gd name="connsiteY2" fmla="*/ 61913 h 190500"/>
                <a:gd name="connsiteX3" fmla="*/ 100013 w 123825"/>
                <a:gd name="connsiteY3" fmla="*/ 14288 h 190500"/>
                <a:gd name="connsiteX4" fmla="*/ 109538 w 123825"/>
                <a:gd name="connsiteY4" fmla="*/ 14764 h 19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190500">
                  <a:moveTo>
                    <a:pt x="52388" y="176213"/>
                  </a:moveTo>
                  <a:cubicBezTo>
                    <a:pt x="33814" y="176213"/>
                    <a:pt x="14288" y="166211"/>
                    <a:pt x="14288" y="147638"/>
                  </a:cubicBezTo>
                  <a:lnTo>
                    <a:pt x="14288" y="61913"/>
                  </a:lnTo>
                  <a:cubicBezTo>
                    <a:pt x="14288" y="30480"/>
                    <a:pt x="70199" y="14288"/>
                    <a:pt x="100013" y="14288"/>
                  </a:cubicBezTo>
                  <a:cubicBezTo>
                    <a:pt x="102965" y="14288"/>
                    <a:pt x="106204" y="14478"/>
                    <a:pt x="109538" y="14764"/>
                  </a:cubicBezTo>
                </a:path>
              </a:pathLst>
            </a:custGeom>
            <a:noFill/>
            <a:ln w="28575" cap="flat">
              <a:solidFill>
                <a:schemeClr val="bg1"/>
              </a:solidFill>
              <a:prstDash val="solid"/>
              <a:round/>
            </a:ln>
          </p:spPr>
          <p:txBody>
            <a:bodyPr rtlCol="0" anchor="ctr"/>
            <a:lstStyle/>
            <a:p>
              <a:endParaRPr lang="es-ES"/>
            </a:p>
          </p:txBody>
        </p:sp>
        <p:sp>
          <p:nvSpPr>
            <p:cNvPr id="37" name="Forma libre: forma 36">
              <a:extLst>
                <a:ext uri="{FF2B5EF4-FFF2-40B4-BE49-F238E27FC236}">
                  <a16:creationId xmlns:a16="http://schemas.microsoft.com/office/drawing/2014/main" id="{6DD902ED-976C-4D8B-A319-92A1BB921720}"/>
                </a:ext>
              </a:extLst>
            </p:cNvPr>
            <p:cNvSpPr/>
            <p:nvPr/>
          </p:nvSpPr>
          <p:spPr>
            <a:xfrm>
              <a:off x="5915914" y="2700034"/>
              <a:ext cx="47748" cy="413814"/>
            </a:xfrm>
            <a:custGeom>
              <a:avLst/>
              <a:gdLst>
                <a:gd name="connsiteX0" fmla="*/ 14288 w 28575"/>
                <a:gd name="connsiteY0" fmla="*/ 233363 h 247650"/>
                <a:gd name="connsiteX1" fmla="*/ 14288 w 28575"/>
                <a:gd name="connsiteY1" fmla="*/ 14288 h 247650"/>
              </a:gdLst>
              <a:ahLst/>
              <a:cxnLst>
                <a:cxn ang="0">
                  <a:pos x="connsiteX0" y="connsiteY0"/>
                </a:cxn>
                <a:cxn ang="0">
                  <a:pos x="connsiteX1" y="connsiteY1"/>
                </a:cxn>
              </a:cxnLst>
              <a:rect l="l" t="t" r="r" b="b"/>
              <a:pathLst>
                <a:path w="28575" h="247650">
                  <a:moveTo>
                    <a:pt x="14288" y="233363"/>
                  </a:moveTo>
                  <a:lnTo>
                    <a:pt x="14288" y="14288"/>
                  </a:lnTo>
                </a:path>
              </a:pathLst>
            </a:custGeom>
            <a:ln w="28575" cap="flat">
              <a:solidFill>
                <a:schemeClr val="bg1"/>
              </a:solidFill>
              <a:prstDash val="solid"/>
              <a:round/>
            </a:ln>
          </p:spPr>
          <p:txBody>
            <a:bodyPr rtlCol="0" anchor="ctr"/>
            <a:lstStyle/>
            <a:p>
              <a:endParaRPr lang="es-ES"/>
            </a:p>
          </p:txBody>
        </p:sp>
        <p:sp>
          <p:nvSpPr>
            <p:cNvPr id="38" name="Forma libre: forma 37">
              <a:extLst>
                <a:ext uri="{FF2B5EF4-FFF2-40B4-BE49-F238E27FC236}">
                  <a16:creationId xmlns:a16="http://schemas.microsoft.com/office/drawing/2014/main" id="{C902BE8F-52A2-4CD3-A83E-753EA687647F}"/>
                </a:ext>
              </a:extLst>
            </p:cNvPr>
            <p:cNvSpPr/>
            <p:nvPr/>
          </p:nvSpPr>
          <p:spPr>
            <a:xfrm>
              <a:off x="5931829" y="2381716"/>
              <a:ext cx="175075" cy="206907"/>
            </a:xfrm>
            <a:custGeom>
              <a:avLst/>
              <a:gdLst>
                <a:gd name="connsiteX0" fmla="*/ 52388 w 104775"/>
                <a:gd name="connsiteY0" fmla="*/ 109538 h 123825"/>
                <a:gd name="connsiteX1" fmla="*/ 14288 w 104775"/>
                <a:gd name="connsiteY1" fmla="*/ 71438 h 123825"/>
                <a:gd name="connsiteX2" fmla="*/ 14288 w 104775"/>
                <a:gd name="connsiteY2" fmla="*/ 52388 h 123825"/>
                <a:gd name="connsiteX3" fmla="*/ 52388 w 104775"/>
                <a:gd name="connsiteY3" fmla="*/ 14288 h 123825"/>
                <a:gd name="connsiteX4" fmla="*/ 90488 w 104775"/>
                <a:gd name="connsiteY4" fmla="*/ 52388 h 123825"/>
                <a:gd name="connsiteX5" fmla="*/ 90488 w 104775"/>
                <a:gd name="connsiteY5" fmla="*/ 71438 h 123825"/>
                <a:gd name="connsiteX6" fmla="*/ 52388 w 104775"/>
                <a:gd name="connsiteY6" fmla="*/ 109538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123825">
                  <a:moveTo>
                    <a:pt x="52388" y="109538"/>
                  </a:moveTo>
                  <a:cubicBezTo>
                    <a:pt x="30194" y="109538"/>
                    <a:pt x="14288" y="94012"/>
                    <a:pt x="14288" y="71438"/>
                  </a:cubicBezTo>
                  <a:lnTo>
                    <a:pt x="14288" y="52388"/>
                  </a:lnTo>
                  <a:cubicBezTo>
                    <a:pt x="14288" y="29813"/>
                    <a:pt x="30194" y="14288"/>
                    <a:pt x="52388" y="14288"/>
                  </a:cubicBezTo>
                  <a:cubicBezTo>
                    <a:pt x="74581" y="14288"/>
                    <a:pt x="90488" y="29813"/>
                    <a:pt x="90488" y="52388"/>
                  </a:cubicBezTo>
                  <a:lnTo>
                    <a:pt x="90488" y="71438"/>
                  </a:lnTo>
                  <a:cubicBezTo>
                    <a:pt x="90488" y="94012"/>
                    <a:pt x="74581" y="109538"/>
                    <a:pt x="52388" y="109538"/>
                  </a:cubicBezTo>
                  <a:close/>
                </a:path>
              </a:pathLst>
            </a:custGeom>
            <a:noFill/>
            <a:ln w="28575" cap="flat">
              <a:solidFill>
                <a:schemeClr val="bg1"/>
              </a:solidFill>
              <a:prstDash val="solid"/>
              <a:round/>
            </a:ln>
          </p:spPr>
          <p:txBody>
            <a:bodyPr rtlCol="0" anchor="ctr"/>
            <a:lstStyle/>
            <a:p>
              <a:endParaRPr lang="es-ES"/>
            </a:p>
          </p:txBody>
        </p:sp>
      </p:grpSp>
      <p:grpSp>
        <p:nvGrpSpPr>
          <p:cNvPr id="39" name="Grupo 38">
            <a:extLst>
              <a:ext uri="{FF2B5EF4-FFF2-40B4-BE49-F238E27FC236}">
                <a16:creationId xmlns:a16="http://schemas.microsoft.com/office/drawing/2014/main" id="{1431583D-A67D-4A8C-82F2-9BA8A9B6A3FA}"/>
              </a:ext>
            </a:extLst>
          </p:cNvPr>
          <p:cNvGrpSpPr/>
          <p:nvPr/>
        </p:nvGrpSpPr>
        <p:grpSpPr>
          <a:xfrm>
            <a:off x="7548497" y="954177"/>
            <a:ext cx="528188" cy="434979"/>
            <a:chOff x="7093691" y="1124358"/>
            <a:chExt cx="811712" cy="668469"/>
          </a:xfrm>
        </p:grpSpPr>
        <p:sp>
          <p:nvSpPr>
            <p:cNvPr id="40" name="Forma libre: forma 39">
              <a:extLst>
                <a:ext uri="{FF2B5EF4-FFF2-40B4-BE49-F238E27FC236}">
                  <a16:creationId xmlns:a16="http://schemas.microsoft.com/office/drawing/2014/main" id="{09E2B051-C189-4952-AD8C-899352E8377C}"/>
                </a:ext>
              </a:extLst>
            </p:cNvPr>
            <p:cNvSpPr/>
            <p:nvPr/>
          </p:nvSpPr>
          <p:spPr>
            <a:xfrm>
              <a:off x="7141439" y="1474509"/>
              <a:ext cx="334234" cy="286486"/>
            </a:xfrm>
            <a:custGeom>
              <a:avLst/>
              <a:gdLst>
                <a:gd name="connsiteX0" fmla="*/ 185738 w 200025"/>
                <a:gd name="connsiteY0" fmla="*/ 61913 h 171450"/>
                <a:gd name="connsiteX1" fmla="*/ 185738 w 200025"/>
                <a:gd name="connsiteY1" fmla="*/ 52388 h 171450"/>
                <a:gd name="connsiteX2" fmla="*/ 100013 w 200025"/>
                <a:gd name="connsiteY2" fmla="*/ 14288 h 171450"/>
                <a:gd name="connsiteX3" fmla="*/ 14288 w 200025"/>
                <a:gd name="connsiteY3" fmla="*/ 61913 h 171450"/>
                <a:gd name="connsiteX4" fmla="*/ 14288 w 200025"/>
                <a:gd name="connsiteY4" fmla="*/ 157163 h 171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5" h="171450">
                  <a:moveTo>
                    <a:pt x="185738" y="61913"/>
                  </a:moveTo>
                  <a:lnTo>
                    <a:pt x="185738" y="52388"/>
                  </a:lnTo>
                  <a:cubicBezTo>
                    <a:pt x="185738" y="35433"/>
                    <a:pt x="138589" y="14288"/>
                    <a:pt x="100013" y="14288"/>
                  </a:cubicBezTo>
                  <a:cubicBezTo>
                    <a:pt x="61436" y="14288"/>
                    <a:pt x="14288" y="44958"/>
                    <a:pt x="14288" y="61913"/>
                  </a:cubicBezTo>
                  <a:lnTo>
                    <a:pt x="14288" y="157163"/>
                  </a:lnTo>
                </a:path>
              </a:pathLst>
            </a:custGeom>
            <a:noFill/>
            <a:ln w="28575" cap="flat">
              <a:solidFill>
                <a:schemeClr val="bg1"/>
              </a:solidFill>
              <a:prstDash val="solid"/>
              <a:miter/>
            </a:ln>
          </p:spPr>
          <p:txBody>
            <a:bodyPr rtlCol="0" anchor="ctr"/>
            <a:lstStyle/>
            <a:p>
              <a:endParaRPr lang="es-ES"/>
            </a:p>
          </p:txBody>
        </p:sp>
        <p:sp>
          <p:nvSpPr>
            <p:cNvPr id="41" name="Forma libre: forma 40">
              <a:extLst>
                <a:ext uri="{FF2B5EF4-FFF2-40B4-BE49-F238E27FC236}">
                  <a16:creationId xmlns:a16="http://schemas.microsoft.com/office/drawing/2014/main" id="{8DB539DD-7F83-41FF-A423-E47525AAB464}"/>
                </a:ext>
              </a:extLst>
            </p:cNvPr>
            <p:cNvSpPr/>
            <p:nvPr/>
          </p:nvSpPr>
          <p:spPr>
            <a:xfrm>
              <a:off x="7221018" y="1251686"/>
              <a:ext cx="190991" cy="222823"/>
            </a:xfrm>
            <a:custGeom>
              <a:avLst/>
              <a:gdLst>
                <a:gd name="connsiteX0" fmla="*/ 57150 w 114300"/>
                <a:gd name="connsiteY0" fmla="*/ 14288 h 133350"/>
                <a:gd name="connsiteX1" fmla="*/ 14288 w 114300"/>
                <a:gd name="connsiteY1" fmla="*/ 52006 h 133350"/>
                <a:gd name="connsiteX2" fmla="*/ 14288 w 114300"/>
                <a:gd name="connsiteY2" fmla="*/ 81344 h 133350"/>
                <a:gd name="connsiteX3" fmla="*/ 57150 w 114300"/>
                <a:gd name="connsiteY3" fmla="*/ 119063 h 133350"/>
                <a:gd name="connsiteX4" fmla="*/ 100013 w 114300"/>
                <a:gd name="connsiteY4" fmla="*/ 81344 h 133350"/>
                <a:gd name="connsiteX5" fmla="*/ 100013 w 114300"/>
                <a:gd name="connsiteY5" fmla="*/ 52006 h 133350"/>
                <a:gd name="connsiteX6" fmla="*/ 57150 w 114300"/>
                <a:gd name="connsiteY6" fmla="*/ 14288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300" h="133350">
                  <a:moveTo>
                    <a:pt x="57150" y="14288"/>
                  </a:moveTo>
                  <a:cubicBezTo>
                    <a:pt x="34957" y="14288"/>
                    <a:pt x="14288" y="31147"/>
                    <a:pt x="14288" y="52006"/>
                  </a:cubicBezTo>
                  <a:lnTo>
                    <a:pt x="14288" y="81344"/>
                  </a:lnTo>
                  <a:cubicBezTo>
                    <a:pt x="14288" y="102203"/>
                    <a:pt x="34957" y="119063"/>
                    <a:pt x="57150" y="119063"/>
                  </a:cubicBezTo>
                  <a:cubicBezTo>
                    <a:pt x="79343" y="119063"/>
                    <a:pt x="100013" y="102203"/>
                    <a:pt x="100013" y="81344"/>
                  </a:cubicBezTo>
                  <a:lnTo>
                    <a:pt x="100013" y="52006"/>
                  </a:lnTo>
                  <a:cubicBezTo>
                    <a:pt x="100013" y="31147"/>
                    <a:pt x="79343" y="14288"/>
                    <a:pt x="57150" y="14288"/>
                  </a:cubicBezTo>
                  <a:close/>
                </a:path>
              </a:pathLst>
            </a:custGeom>
            <a:noFill/>
            <a:ln w="28575" cap="flat">
              <a:solidFill>
                <a:schemeClr val="bg1"/>
              </a:solidFill>
              <a:prstDash val="solid"/>
              <a:miter/>
            </a:ln>
          </p:spPr>
          <p:txBody>
            <a:bodyPr rtlCol="0" anchor="ctr"/>
            <a:lstStyle/>
            <a:p>
              <a:endParaRPr lang="es-ES"/>
            </a:p>
          </p:txBody>
        </p:sp>
        <p:sp>
          <p:nvSpPr>
            <p:cNvPr id="42" name="Forma libre: forma 41">
              <a:extLst>
                <a:ext uri="{FF2B5EF4-FFF2-40B4-BE49-F238E27FC236}">
                  <a16:creationId xmlns:a16="http://schemas.microsoft.com/office/drawing/2014/main" id="{D8570260-6DC5-4B4F-B4D2-D61135401948}"/>
                </a:ext>
              </a:extLst>
            </p:cNvPr>
            <p:cNvSpPr/>
            <p:nvPr/>
          </p:nvSpPr>
          <p:spPr>
            <a:xfrm>
              <a:off x="7221018" y="1585920"/>
              <a:ext cx="413814" cy="206907"/>
            </a:xfrm>
            <a:custGeom>
              <a:avLst/>
              <a:gdLst>
                <a:gd name="connsiteX0" fmla="*/ 185738 w 247650"/>
                <a:gd name="connsiteY0" fmla="*/ 109538 h 123825"/>
                <a:gd name="connsiteX1" fmla="*/ 233363 w 247650"/>
                <a:gd name="connsiteY1" fmla="*/ 14288 h 123825"/>
                <a:gd name="connsiteX2" fmla="*/ 100013 w 247650"/>
                <a:gd name="connsiteY2" fmla="*/ 14288 h 123825"/>
                <a:gd name="connsiteX3" fmla="*/ 71438 w 247650"/>
                <a:gd name="connsiteY3" fmla="*/ 80963 h 123825"/>
                <a:gd name="connsiteX4" fmla="*/ 14288 w 247650"/>
                <a:gd name="connsiteY4" fmla="*/ 80963 h 123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50" h="123825">
                  <a:moveTo>
                    <a:pt x="185738" y="109538"/>
                  </a:moveTo>
                  <a:lnTo>
                    <a:pt x="233363" y="14288"/>
                  </a:lnTo>
                  <a:lnTo>
                    <a:pt x="100013" y="14288"/>
                  </a:lnTo>
                  <a:lnTo>
                    <a:pt x="71438" y="80963"/>
                  </a:lnTo>
                  <a:lnTo>
                    <a:pt x="14288" y="80963"/>
                  </a:lnTo>
                </a:path>
              </a:pathLst>
            </a:custGeom>
            <a:noFill/>
            <a:ln w="28575" cap="flat">
              <a:solidFill>
                <a:schemeClr val="bg1"/>
              </a:solidFill>
              <a:prstDash val="solid"/>
              <a:round/>
            </a:ln>
          </p:spPr>
          <p:txBody>
            <a:bodyPr rtlCol="0" anchor="ctr"/>
            <a:lstStyle/>
            <a:p>
              <a:endParaRPr lang="es-ES"/>
            </a:p>
          </p:txBody>
        </p:sp>
        <p:sp>
          <p:nvSpPr>
            <p:cNvPr id="43" name="Forma libre: forma 42">
              <a:extLst>
                <a:ext uri="{FF2B5EF4-FFF2-40B4-BE49-F238E27FC236}">
                  <a16:creationId xmlns:a16="http://schemas.microsoft.com/office/drawing/2014/main" id="{B3928C64-D6E0-4A26-9D4B-3007F83E55F7}"/>
                </a:ext>
              </a:extLst>
            </p:cNvPr>
            <p:cNvSpPr/>
            <p:nvPr/>
          </p:nvSpPr>
          <p:spPr>
            <a:xfrm>
              <a:off x="7443841" y="1124358"/>
              <a:ext cx="445646" cy="413814"/>
            </a:xfrm>
            <a:custGeom>
              <a:avLst/>
              <a:gdLst>
                <a:gd name="connsiteX0" fmla="*/ 14288 w 266700"/>
                <a:gd name="connsiteY0" fmla="*/ 33338 h 247650"/>
                <a:gd name="connsiteX1" fmla="*/ 14288 w 266700"/>
                <a:gd name="connsiteY1" fmla="*/ 166688 h 247650"/>
                <a:gd name="connsiteX2" fmla="*/ 33338 w 266700"/>
                <a:gd name="connsiteY2" fmla="*/ 185738 h 247650"/>
                <a:gd name="connsiteX3" fmla="*/ 52388 w 266700"/>
                <a:gd name="connsiteY3" fmla="*/ 185738 h 247650"/>
                <a:gd name="connsiteX4" fmla="*/ 52388 w 266700"/>
                <a:gd name="connsiteY4" fmla="*/ 226695 h 247650"/>
                <a:gd name="connsiteX5" fmla="*/ 69152 w 266700"/>
                <a:gd name="connsiteY5" fmla="*/ 232886 h 247650"/>
                <a:gd name="connsiteX6" fmla="*/ 109538 w 266700"/>
                <a:gd name="connsiteY6" fmla="*/ 185738 h 247650"/>
                <a:gd name="connsiteX7" fmla="*/ 233363 w 266700"/>
                <a:gd name="connsiteY7" fmla="*/ 185738 h 247650"/>
                <a:gd name="connsiteX8" fmla="*/ 252413 w 266700"/>
                <a:gd name="connsiteY8" fmla="*/ 166688 h 247650"/>
                <a:gd name="connsiteX9" fmla="*/ 252413 w 266700"/>
                <a:gd name="connsiteY9" fmla="*/ 33338 h 247650"/>
                <a:gd name="connsiteX10" fmla="*/ 233363 w 266700"/>
                <a:gd name="connsiteY10" fmla="*/ 14288 h 247650"/>
                <a:gd name="connsiteX11" fmla="*/ 33338 w 266700"/>
                <a:gd name="connsiteY11" fmla="*/ 14288 h 247650"/>
                <a:gd name="connsiteX12" fmla="*/ 14288 w 266700"/>
                <a:gd name="connsiteY12" fmla="*/ 33338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700" h="247650">
                  <a:moveTo>
                    <a:pt x="14288" y="33338"/>
                  </a:moveTo>
                  <a:lnTo>
                    <a:pt x="14288" y="166688"/>
                  </a:lnTo>
                  <a:cubicBezTo>
                    <a:pt x="14288" y="177165"/>
                    <a:pt x="22860" y="185738"/>
                    <a:pt x="33338" y="185738"/>
                  </a:cubicBezTo>
                  <a:lnTo>
                    <a:pt x="52388" y="185738"/>
                  </a:lnTo>
                  <a:lnTo>
                    <a:pt x="52388" y="226695"/>
                  </a:lnTo>
                  <a:cubicBezTo>
                    <a:pt x="52388" y="235553"/>
                    <a:pt x="63437" y="239649"/>
                    <a:pt x="69152" y="232886"/>
                  </a:cubicBezTo>
                  <a:lnTo>
                    <a:pt x="109538" y="185738"/>
                  </a:lnTo>
                  <a:lnTo>
                    <a:pt x="233363" y="185738"/>
                  </a:lnTo>
                  <a:cubicBezTo>
                    <a:pt x="243840" y="185738"/>
                    <a:pt x="252413" y="177165"/>
                    <a:pt x="252413" y="166688"/>
                  </a:cubicBezTo>
                  <a:lnTo>
                    <a:pt x="252413" y="33338"/>
                  </a:lnTo>
                  <a:cubicBezTo>
                    <a:pt x="252413" y="22860"/>
                    <a:pt x="243840" y="14288"/>
                    <a:pt x="233363" y="14288"/>
                  </a:cubicBezTo>
                  <a:lnTo>
                    <a:pt x="33338" y="14288"/>
                  </a:lnTo>
                  <a:cubicBezTo>
                    <a:pt x="22860" y="14288"/>
                    <a:pt x="14288" y="22860"/>
                    <a:pt x="14288" y="33338"/>
                  </a:cubicBezTo>
                  <a:close/>
                </a:path>
              </a:pathLst>
            </a:custGeom>
            <a:noFill/>
            <a:ln w="28575" cap="flat">
              <a:solidFill>
                <a:schemeClr val="bg1"/>
              </a:solidFill>
              <a:prstDash val="solid"/>
              <a:round/>
            </a:ln>
          </p:spPr>
          <p:txBody>
            <a:bodyPr rtlCol="0" anchor="ctr"/>
            <a:lstStyle/>
            <a:p>
              <a:endParaRPr lang="es-ES"/>
            </a:p>
          </p:txBody>
        </p:sp>
        <p:sp>
          <p:nvSpPr>
            <p:cNvPr id="44" name="Forma libre: forma 43">
              <a:extLst>
                <a:ext uri="{FF2B5EF4-FFF2-40B4-BE49-F238E27FC236}">
                  <a16:creationId xmlns:a16="http://schemas.microsoft.com/office/drawing/2014/main" id="{DDE85E57-D1AB-4EB3-A1CC-32A30DCA4C2B}"/>
                </a:ext>
              </a:extLst>
            </p:cNvPr>
            <p:cNvSpPr/>
            <p:nvPr/>
          </p:nvSpPr>
          <p:spPr>
            <a:xfrm>
              <a:off x="7093691" y="1745079"/>
              <a:ext cx="811712" cy="47748"/>
            </a:xfrm>
            <a:custGeom>
              <a:avLst/>
              <a:gdLst>
                <a:gd name="connsiteX0" fmla="*/ 14288 w 485775"/>
                <a:gd name="connsiteY0" fmla="*/ 14288 h 28575"/>
                <a:gd name="connsiteX1" fmla="*/ 471488 w 485775"/>
                <a:gd name="connsiteY1" fmla="*/ 14288 h 28575"/>
              </a:gdLst>
              <a:ahLst/>
              <a:cxnLst>
                <a:cxn ang="0">
                  <a:pos x="connsiteX0" y="connsiteY0"/>
                </a:cxn>
                <a:cxn ang="0">
                  <a:pos x="connsiteX1" y="connsiteY1"/>
                </a:cxn>
              </a:cxnLst>
              <a:rect l="l" t="t" r="r" b="b"/>
              <a:pathLst>
                <a:path w="485775" h="28575">
                  <a:moveTo>
                    <a:pt x="14288" y="14288"/>
                  </a:moveTo>
                  <a:lnTo>
                    <a:pt x="471488" y="14288"/>
                  </a:lnTo>
                </a:path>
              </a:pathLst>
            </a:custGeom>
            <a:ln w="28575" cap="flat">
              <a:solidFill>
                <a:schemeClr val="bg1"/>
              </a:solidFill>
              <a:prstDash val="solid"/>
              <a:round/>
            </a:ln>
          </p:spPr>
          <p:txBody>
            <a:bodyPr rtlCol="0" anchor="ctr"/>
            <a:lstStyle/>
            <a:p>
              <a:endParaRPr lang="es-ES"/>
            </a:p>
          </p:txBody>
        </p:sp>
      </p:grpSp>
      <p:grpSp>
        <p:nvGrpSpPr>
          <p:cNvPr id="45" name="Gráfico 104">
            <a:extLst>
              <a:ext uri="{FF2B5EF4-FFF2-40B4-BE49-F238E27FC236}">
                <a16:creationId xmlns:a16="http://schemas.microsoft.com/office/drawing/2014/main" id="{8AD5E37C-DC62-43D8-B440-006465D84D5B}"/>
              </a:ext>
            </a:extLst>
          </p:cNvPr>
          <p:cNvGrpSpPr/>
          <p:nvPr/>
        </p:nvGrpSpPr>
        <p:grpSpPr>
          <a:xfrm>
            <a:off x="777059" y="4214136"/>
            <a:ext cx="539275" cy="432226"/>
            <a:chOff x="-8993222" y="1610324"/>
            <a:chExt cx="3923647" cy="3144782"/>
          </a:xfrm>
          <a:solidFill>
            <a:srgbClr val="FFFFFF"/>
          </a:solidFill>
        </p:grpSpPr>
        <p:sp>
          <p:nvSpPr>
            <p:cNvPr id="46" name="Forma libre: forma 45">
              <a:extLst>
                <a:ext uri="{FF2B5EF4-FFF2-40B4-BE49-F238E27FC236}">
                  <a16:creationId xmlns:a16="http://schemas.microsoft.com/office/drawing/2014/main" id="{D26E7DC6-C1B4-47BB-AAC3-D5C0E2C156A5}"/>
                </a:ext>
              </a:extLst>
            </p:cNvPr>
            <p:cNvSpPr/>
            <p:nvPr/>
          </p:nvSpPr>
          <p:spPr>
            <a:xfrm>
              <a:off x="-8993222" y="4006451"/>
              <a:ext cx="3923647" cy="748655"/>
            </a:xfrm>
            <a:custGeom>
              <a:avLst/>
              <a:gdLst>
                <a:gd name="connsiteX0" fmla="*/ 3550723 w 3923647"/>
                <a:gd name="connsiteY0" fmla="*/ 748656 h 748655"/>
                <a:gd name="connsiteX1" fmla="*/ 372925 w 3923647"/>
                <a:gd name="connsiteY1" fmla="*/ 748656 h 748655"/>
                <a:gd name="connsiteX2" fmla="*/ 0 w 3923647"/>
                <a:gd name="connsiteY2" fmla="*/ 374328 h 748655"/>
                <a:gd name="connsiteX3" fmla="*/ 372925 w 3923647"/>
                <a:gd name="connsiteY3" fmla="*/ 0 h 748655"/>
                <a:gd name="connsiteX4" fmla="*/ 3550723 w 3923647"/>
                <a:gd name="connsiteY4" fmla="*/ 0 h 748655"/>
                <a:gd name="connsiteX5" fmla="*/ 3923647 w 3923647"/>
                <a:gd name="connsiteY5" fmla="*/ 374328 h 748655"/>
                <a:gd name="connsiteX6" fmla="*/ 3550723 w 3923647"/>
                <a:gd name="connsiteY6" fmla="*/ 748656 h 748655"/>
                <a:gd name="connsiteX7" fmla="*/ 372925 w 3923647"/>
                <a:gd name="connsiteY7" fmla="*/ 138859 h 748655"/>
                <a:gd name="connsiteX8" fmla="*/ 138268 w 3923647"/>
                <a:gd name="connsiteY8" fmla="*/ 374328 h 748655"/>
                <a:gd name="connsiteX9" fmla="*/ 372925 w 3923647"/>
                <a:gd name="connsiteY9" fmla="*/ 609797 h 748655"/>
                <a:gd name="connsiteX10" fmla="*/ 3550723 w 3923647"/>
                <a:gd name="connsiteY10" fmla="*/ 609797 h 748655"/>
                <a:gd name="connsiteX11" fmla="*/ 3785306 w 3923647"/>
                <a:gd name="connsiteY11" fmla="*/ 374328 h 748655"/>
                <a:gd name="connsiteX12" fmla="*/ 3550723 w 3923647"/>
                <a:gd name="connsiteY12" fmla="*/ 138859 h 748655"/>
                <a:gd name="connsiteX13" fmla="*/ 372925 w 3923647"/>
                <a:gd name="connsiteY13" fmla="*/ 138859 h 74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23647" h="748655">
                  <a:moveTo>
                    <a:pt x="3550723" y="748656"/>
                  </a:moveTo>
                  <a:lnTo>
                    <a:pt x="372925" y="748656"/>
                  </a:lnTo>
                  <a:cubicBezTo>
                    <a:pt x="167295" y="748656"/>
                    <a:pt x="0" y="580769"/>
                    <a:pt x="0" y="374328"/>
                  </a:cubicBezTo>
                  <a:cubicBezTo>
                    <a:pt x="0" y="167886"/>
                    <a:pt x="167295" y="0"/>
                    <a:pt x="372925" y="0"/>
                  </a:cubicBezTo>
                  <a:lnTo>
                    <a:pt x="3550723" y="0"/>
                  </a:lnTo>
                  <a:cubicBezTo>
                    <a:pt x="3756352" y="0"/>
                    <a:pt x="3923647" y="167960"/>
                    <a:pt x="3923647" y="374328"/>
                  </a:cubicBezTo>
                  <a:cubicBezTo>
                    <a:pt x="3923647" y="580769"/>
                    <a:pt x="3756352" y="748656"/>
                    <a:pt x="3550723" y="748656"/>
                  </a:cubicBezTo>
                  <a:close/>
                  <a:moveTo>
                    <a:pt x="372925" y="138859"/>
                  </a:moveTo>
                  <a:cubicBezTo>
                    <a:pt x="243520" y="138859"/>
                    <a:pt x="138268" y="244480"/>
                    <a:pt x="138268" y="374328"/>
                  </a:cubicBezTo>
                  <a:cubicBezTo>
                    <a:pt x="138268" y="504175"/>
                    <a:pt x="243520" y="609797"/>
                    <a:pt x="372925" y="609797"/>
                  </a:cubicBezTo>
                  <a:lnTo>
                    <a:pt x="3550723" y="609797"/>
                  </a:lnTo>
                  <a:cubicBezTo>
                    <a:pt x="3680054" y="609797"/>
                    <a:pt x="3785306" y="504175"/>
                    <a:pt x="3785306" y="374328"/>
                  </a:cubicBezTo>
                  <a:cubicBezTo>
                    <a:pt x="3785306" y="244480"/>
                    <a:pt x="3680054" y="138859"/>
                    <a:pt x="3550723" y="138859"/>
                  </a:cubicBezTo>
                  <a:lnTo>
                    <a:pt x="372925" y="138859"/>
                  </a:lnTo>
                  <a:close/>
                </a:path>
              </a:pathLst>
            </a:custGeom>
            <a:solidFill>
              <a:srgbClr val="FFFFFF"/>
            </a:solidFill>
            <a:ln w="7386" cap="flat">
              <a:noFill/>
              <a:prstDash val="solid"/>
              <a:miter/>
            </a:ln>
          </p:spPr>
          <p:txBody>
            <a:bodyPr rtlCol="0" anchor="ctr"/>
            <a:lstStyle/>
            <a:p>
              <a:endParaRPr lang="es-ES"/>
            </a:p>
          </p:txBody>
        </p:sp>
        <p:sp>
          <p:nvSpPr>
            <p:cNvPr id="47" name="Forma libre: forma 46">
              <a:extLst>
                <a:ext uri="{FF2B5EF4-FFF2-40B4-BE49-F238E27FC236}">
                  <a16:creationId xmlns:a16="http://schemas.microsoft.com/office/drawing/2014/main" id="{423BB155-5ACD-4094-83B4-3BB2B6346A72}"/>
                </a:ext>
              </a:extLst>
            </p:cNvPr>
            <p:cNvSpPr/>
            <p:nvPr/>
          </p:nvSpPr>
          <p:spPr>
            <a:xfrm>
              <a:off x="-8825778" y="1610324"/>
              <a:ext cx="3588761" cy="2567705"/>
            </a:xfrm>
            <a:custGeom>
              <a:avLst/>
              <a:gdLst>
                <a:gd name="connsiteX0" fmla="*/ 3519628 w 3588761"/>
                <a:gd name="connsiteY0" fmla="*/ 2567706 h 2567705"/>
                <a:gd name="connsiteX1" fmla="*/ 3488532 w 3588761"/>
                <a:gd name="connsiteY1" fmla="*/ 2560246 h 2567705"/>
                <a:gd name="connsiteX2" fmla="*/ 3383280 w 3588761"/>
                <a:gd name="connsiteY2" fmla="*/ 2534986 h 2567705"/>
                <a:gd name="connsiteX3" fmla="*/ 205482 w 3588761"/>
                <a:gd name="connsiteY3" fmla="*/ 2534986 h 2567705"/>
                <a:gd name="connsiteX4" fmla="*/ 100229 w 3588761"/>
                <a:gd name="connsiteY4" fmla="*/ 2560246 h 2567705"/>
                <a:gd name="connsiteX5" fmla="*/ 32868 w 3588761"/>
                <a:gd name="connsiteY5" fmla="*/ 2557366 h 2567705"/>
                <a:gd name="connsiteX6" fmla="*/ 0 w 3588761"/>
                <a:gd name="connsiteY6" fmla="*/ 2498277 h 2567705"/>
                <a:gd name="connsiteX7" fmla="*/ 0 w 3588761"/>
                <a:gd name="connsiteY7" fmla="*/ 291530 h 2567705"/>
                <a:gd name="connsiteX8" fmla="*/ 290496 w 3588761"/>
                <a:gd name="connsiteY8" fmla="*/ 0 h 2567705"/>
                <a:gd name="connsiteX9" fmla="*/ 3298340 w 3588761"/>
                <a:gd name="connsiteY9" fmla="*/ 0 h 2567705"/>
                <a:gd name="connsiteX10" fmla="*/ 3588762 w 3588761"/>
                <a:gd name="connsiteY10" fmla="*/ 291530 h 2567705"/>
                <a:gd name="connsiteX11" fmla="*/ 3588762 w 3588761"/>
                <a:gd name="connsiteY11" fmla="*/ 2498277 h 2567705"/>
                <a:gd name="connsiteX12" fmla="*/ 3555893 w 3588761"/>
                <a:gd name="connsiteY12" fmla="*/ 2557366 h 2567705"/>
                <a:gd name="connsiteX13" fmla="*/ 3519628 w 3588761"/>
                <a:gd name="connsiteY13" fmla="*/ 2567706 h 2567705"/>
                <a:gd name="connsiteX14" fmla="*/ 290422 w 3588761"/>
                <a:gd name="connsiteY14" fmla="*/ 138785 h 2567705"/>
                <a:gd name="connsiteX15" fmla="*/ 138268 w 3588761"/>
                <a:gd name="connsiteY15" fmla="*/ 291530 h 2567705"/>
                <a:gd name="connsiteX16" fmla="*/ 138268 w 3588761"/>
                <a:gd name="connsiteY16" fmla="*/ 2402257 h 2567705"/>
                <a:gd name="connsiteX17" fmla="*/ 205482 w 3588761"/>
                <a:gd name="connsiteY17" fmla="*/ 2396127 h 2567705"/>
                <a:gd name="connsiteX18" fmla="*/ 3383280 w 3588761"/>
                <a:gd name="connsiteY18" fmla="*/ 2396127 h 2567705"/>
                <a:gd name="connsiteX19" fmla="*/ 3450420 w 3588761"/>
                <a:gd name="connsiteY19" fmla="*/ 2402257 h 2567705"/>
                <a:gd name="connsiteX20" fmla="*/ 3450420 w 3588761"/>
                <a:gd name="connsiteY20" fmla="*/ 291530 h 2567705"/>
                <a:gd name="connsiteX21" fmla="*/ 3298266 w 3588761"/>
                <a:gd name="connsiteY21" fmla="*/ 138785 h 2567705"/>
                <a:gd name="connsiteX22" fmla="*/ 290422 w 3588761"/>
                <a:gd name="connsiteY22" fmla="*/ 138785 h 2567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88761" h="2567705">
                  <a:moveTo>
                    <a:pt x="3519628" y="2567706"/>
                  </a:moveTo>
                  <a:cubicBezTo>
                    <a:pt x="3508992" y="2567706"/>
                    <a:pt x="3498356" y="2565269"/>
                    <a:pt x="3488532" y="2560246"/>
                  </a:cubicBezTo>
                  <a:cubicBezTo>
                    <a:pt x="3455295" y="2543480"/>
                    <a:pt x="3419915" y="2534986"/>
                    <a:pt x="3383280" y="2534986"/>
                  </a:cubicBezTo>
                  <a:lnTo>
                    <a:pt x="205482" y="2534986"/>
                  </a:lnTo>
                  <a:cubicBezTo>
                    <a:pt x="168846" y="2534986"/>
                    <a:pt x="133467" y="2543480"/>
                    <a:pt x="100229" y="2560246"/>
                  </a:cubicBezTo>
                  <a:cubicBezTo>
                    <a:pt x="78810" y="2571104"/>
                    <a:pt x="53328" y="2569922"/>
                    <a:pt x="32868" y="2557366"/>
                  </a:cubicBezTo>
                  <a:cubicBezTo>
                    <a:pt x="12483" y="2544735"/>
                    <a:pt x="0" y="2522355"/>
                    <a:pt x="0" y="2498277"/>
                  </a:cubicBezTo>
                  <a:lnTo>
                    <a:pt x="0" y="291530"/>
                  </a:lnTo>
                  <a:cubicBezTo>
                    <a:pt x="0" y="130734"/>
                    <a:pt x="130291" y="0"/>
                    <a:pt x="290496" y="0"/>
                  </a:cubicBezTo>
                  <a:lnTo>
                    <a:pt x="3298340" y="0"/>
                  </a:lnTo>
                  <a:cubicBezTo>
                    <a:pt x="3458545" y="0"/>
                    <a:pt x="3588762" y="130808"/>
                    <a:pt x="3588762" y="291530"/>
                  </a:cubicBezTo>
                  <a:lnTo>
                    <a:pt x="3588762" y="2498277"/>
                  </a:lnTo>
                  <a:cubicBezTo>
                    <a:pt x="3588762" y="2522355"/>
                    <a:pt x="3576279" y="2544735"/>
                    <a:pt x="3555893" y="2557366"/>
                  </a:cubicBezTo>
                  <a:cubicBezTo>
                    <a:pt x="3544814" y="2564235"/>
                    <a:pt x="3532258" y="2567706"/>
                    <a:pt x="3519628" y="2567706"/>
                  </a:cubicBezTo>
                  <a:close/>
                  <a:moveTo>
                    <a:pt x="290422" y="138785"/>
                  </a:moveTo>
                  <a:cubicBezTo>
                    <a:pt x="206516" y="138785"/>
                    <a:pt x="138268" y="207254"/>
                    <a:pt x="138268" y="291530"/>
                  </a:cubicBezTo>
                  <a:lnTo>
                    <a:pt x="138268" y="2402257"/>
                  </a:lnTo>
                  <a:cubicBezTo>
                    <a:pt x="160279" y="2398195"/>
                    <a:pt x="182732" y="2396127"/>
                    <a:pt x="205482" y="2396127"/>
                  </a:cubicBezTo>
                  <a:lnTo>
                    <a:pt x="3383280" y="2396127"/>
                  </a:lnTo>
                  <a:cubicBezTo>
                    <a:pt x="3406029" y="2396127"/>
                    <a:pt x="3428409" y="2398121"/>
                    <a:pt x="3450420" y="2402257"/>
                  </a:cubicBezTo>
                  <a:lnTo>
                    <a:pt x="3450420" y="291530"/>
                  </a:lnTo>
                  <a:cubicBezTo>
                    <a:pt x="3450420" y="207328"/>
                    <a:pt x="3382172" y="138785"/>
                    <a:pt x="3298266" y="138785"/>
                  </a:cubicBezTo>
                  <a:lnTo>
                    <a:pt x="290422" y="138785"/>
                  </a:lnTo>
                  <a:close/>
                </a:path>
              </a:pathLst>
            </a:custGeom>
            <a:solidFill>
              <a:srgbClr val="FFFFFF"/>
            </a:solidFill>
            <a:ln w="7386" cap="flat">
              <a:noFill/>
              <a:prstDash val="solid"/>
              <a:miter/>
            </a:ln>
          </p:spPr>
          <p:txBody>
            <a:bodyPr rtlCol="0" anchor="ctr"/>
            <a:lstStyle/>
            <a:p>
              <a:endParaRPr lang="es-ES"/>
            </a:p>
          </p:txBody>
        </p:sp>
        <p:sp>
          <p:nvSpPr>
            <p:cNvPr id="48" name="Forma libre: forma 47">
              <a:extLst>
                <a:ext uri="{FF2B5EF4-FFF2-40B4-BE49-F238E27FC236}">
                  <a16:creationId xmlns:a16="http://schemas.microsoft.com/office/drawing/2014/main" id="{36CC8386-EBCB-4385-A6D9-8FA8E8DCF367}"/>
                </a:ext>
              </a:extLst>
            </p:cNvPr>
            <p:cNvSpPr/>
            <p:nvPr/>
          </p:nvSpPr>
          <p:spPr>
            <a:xfrm>
              <a:off x="-7906725" y="4006451"/>
              <a:ext cx="1750581" cy="443757"/>
            </a:xfrm>
            <a:custGeom>
              <a:avLst/>
              <a:gdLst>
                <a:gd name="connsiteX0" fmla="*/ 1534094 w 1750581"/>
                <a:gd name="connsiteY0" fmla="*/ 443757 h 443757"/>
                <a:gd name="connsiteX1" fmla="*/ 216561 w 1750581"/>
                <a:gd name="connsiteY1" fmla="*/ 443757 h 443757"/>
                <a:gd name="connsiteX2" fmla="*/ 0 w 1750581"/>
                <a:gd name="connsiteY2" fmla="*/ 226384 h 443757"/>
                <a:gd name="connsiteX3" fmla="*/ 0 w 1750581"/>
                <a:gd name="connsiteY3" fmla="*/ 69429 h 443757"/>
                <a:gd name="connsiteX4" fmla="*/ 69134 w 1750581"/>
                <a:gd name="connsiteY4" fmla="*/ 0 h 443757"/>
                <a:gd name="connsiteX5" fmla="*/ 1681447 w 1750581"/>
                <a:gd name="connsiteY5" fmla="*/ 0 h 443757"/>
                <a:gd name="connsiteX6" fmla="*/ 1750581 w 1750581"/>
                <a:gd name="connsiteY6" fmla="*/ 69429 h 443757"/>
                <a:gd name="connsiteX7" fmla="*/ 1750581 w 1750581"/>
                <a:gd name="connsiteY7" fmla="*/ 226384 h 443757"/>
                <a:gd name="connsiteX8" fmla="*/ 1534094 w 1750581"/>
                <a:gd name="connsiteY8" fmla="*/ 443757 h 443757"/>
                <a:gd name="connsiteX9" fmla="*/ 138342 w 1750581"/>
                <a:gd name="connsiteY9" fmla="*/ 138859 h 443757"/>
                <a:gd name="connsiteX10" fmla="*/ 138342 w 1750581"/>
                <a:gd name="connsiteY10" fmla="*/ 226384 h 443757"/>
                <a:gd name="connsiteX11" fmla="*/ 216561 w 1750581"/>
                <a:gd name="connsiteY11" fmla="*/ 304898 h 443757"/>
                <a:gd name="connsiteX12" fmla="*/ 1534094 w 1750581"/>
                <a:gd name="connsiteY12" fmla="*/ 304898 h 443757"/>
                <a:gd name="connsiteX13" fmla="*/ 1612313 w 1750581"/>
                <a:gd name="connsiteY13" fmla="*/ 226384 h 443757"/>
                <a:gd name="connsiteX14" fmla="*/ 1612313 w 1750581"/>
                <a:gd name="connsiteY14" fmla="*/ 138859 h 443757"/>
                <a:gd name="connsiteX15" fmla="*/ 138342 w 1750581"/>
                <a:gd name="connsiteY15" fmla="*/ 138859 h 44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50581" h="443757">
                  <a:moveTo>
                    <a:pt x="1534094" y="443757"/>
                  </a:moveTo>
                  <a:lnTo>
                    <a:pt x="216561" y="443757"/>
                  </a:lnTo>
                  <a:cubicBezTo>
                    <a:pt x="97127" y="443757"/>
                    <a:pt x="0" y="346260"/>
                    <a:pt x="0" y="226384"/>
                  </a:cubicBezTo>
                  <a:lnTo>
                    <a:pt x="0" y="69429"/>
                  </a:lnTo>
                  <a:cubicBezTo>
                    <a:pt x="0" y="31095"/>
                    <a:pt x="30948" y="0"/>
                    <a:pt x="69134" y="0"/>
                  </a:cubicBezTo>
                  <a:lnTo>
                    <a:pt x="1681447" y="0"/>
                  </a:lnTo>
                  <a:cubicBezTo>
                    <a:pt x="1719633" y="0"/>
                    <a:pt x="1750581" y="31095"/>
                    <a:pt x="1750581" y="69429"/>
                  </a:cubicBezTo>
                  <a:lnTo>
                    <a:pt x="1750581" y="226384"/>
                  </a:lnTo>
                  <a:cubicBezTo>
                    <a:pt x="1750655" y="346260"/>
                    <a:pt x="1653454" y="443757"/>
                    <a:pt x="1534094" y="443757"/>
                  </a:cubicBezTo>
                  <a:close/>
                  <a:moveTo>
                    <a:pt x="138342" y="138859"/>
                  </a:moveTo>
                  <a:lnTo>
                    <a:pt x="138342" y="226384"/>
                  </a:lnTo>
                  <a:cubicBezTo>
                    <a:pt x="138342" y="269667"/>
                    <a:pt x="173426" y="304898"/>
                    <a:pt x="216561" y="304898"/>
                  </a:cubicBezTo>
                  <a:lnTo>
                    <a:pt x="1534094" y="304898"/>
                  </a:lnTo>
                  <a:cubicBezTo>
                    <a:pt x="1577229" y="304898"/>
                    <a:pt x="1612313" y="269667"/>
                    <a:pt x="1612313" y="226384"/>
                  </a:cubicBezTo>
                  <a:lnTo>
                    <a:pt x="1612313" y="138859"/>
                  </a:lnTo>
                  <a:lnTo>
                    <a:pt x="138342" y="138859"/>
                  </a:lnTo>
                  <a:close/>
                </a:path>
              </a:pathLst>
            </a:custGeom>
            <a:solidFill>
              <a:srgbClr val="FFFFFF"/>
            </a:solidFill>
            <a:ln w="7386" cap="flat">
              <a:noFill/>
              <a:prstDash val="solid"/>
              <a:miter/>
            </a:ln>
          </p:spPr>
          <p:txBody>
            <a:bodyPr rtlCol="0" anchor="ctr"/>
            <a:lstStyle/>
            <a:p>
              <a:endParaRPr lang="es-ES"/>
            </a:p>
          </p:txBody>
        </p:sp>
        <p:sp>
          <p:nvSpPr>
            <p:cNvPr id="49" name="Forma libre: forma 48">
              <a:extLst>
                <a:ext uri="{FF2B5EF4-FFF2-40B4-BE49-F238E27FC236}">
                  <a16:creationId xmlns:a16="http://schemas.microsoft.com/office/drawing/2014/main" id="{7BF398BD-9198-4EF8-9AD0-2F10157BD0AE}"/>
                </a:ext>
              </a:extLst>
            </p:cNvPr>
            <p:cNvSpPr/>
            <p:nvPr/>
          </p:nvSpPr>
          <p:spPr>
            <a:xfrm>
              <a:off x="-8529448" y="1937381"/>
              <a:ext cx="2996100" cy="1926444"/>
            </a:xfrm>
            <a:custGeom>
              <a:avLst/>
              <a:gdLst>
                <a:gd name="connsiteX0" fmla="*/ 2926967 w 2996100"/>
                <a:gd name="connsiteY0" fmla="*/ 1926444 h 1926444"/>
                <a:gd name="connsiteX1" fmla="*/ 69134 w 2996100"/>
                <a:gd name="connsiteY1" fmla="*/ 1926444 h 1926444"/>
                <a:gd name="connsiteX2" fmla="*/ 0 w 2996100"/>
                <a:gd name="connsiteY2" fmla="*/ 1857015 h 1926444"/>
                <a:gd name="connsiteX3" fmla="*/ 0 w 2996100"/>
                <a:gd name="connsiteY3" fmla="*/ 69429 h 1926444"/>
                <a:gd name="connsiteX4" fmla="*/ 69134 w 2996100"/>
                <a:gd name="connsiteY4" fmla="*/ 0 h 1926444"/>
                <a:gd name="connsiteX5" fmla="*/ 2926967 w 2996100"/>
                <a:gd name="connsiteY5" fmla="*/ 0 h 1926444"/>
                <a:gd name="connsiteX6" fmla="*/ 2996100 w 2996100"/>
                <a:gd name="connsiteY6" fmla="*/ 69429 h 1926444"/>
                <a:gd name="connsiteX7" fmla="*/ 2996100 w 2996100"/>
                <a:gd name="connsiteY7" fmla="*/ 1857015 h 1926444"/>
                <a:gd name="connsiteX8" fmla="*/ 2926967 w 2996100"/>
                <a:gd name="connsiteY8" fmla="*/ 1926444 h 1926444"/>
                <a:gd name="connsiteX9" fmla="*/ 138268 w 2996100"/>
                <a:gd name="connsiteY9" fmla="*/ 1787659 h 1926444"/>
                <a:gd name="connsiteX10" fmla="*/ 2857832 w 2996100"/>
                <a:gd name="connsiteY10" fmla="*/ 1787659 h 1926444"/>
                <a:gd name="connsiteX11" fmla="*/ 2857832 w 2996100"/>
                <a:gd name="connsiteY11" fmla="*/ 138859 h 1926444"/>
                <a:gd name="connsiteX12" fmla="*/ 138268 w 2996100"/>
                <a:gd name="connsiteY12" fmla="*/ 138859 h 1926444"/>
                <a:gd name="connsiteX13" fmla="*/ 138268 w 2996100"/>
                <a:gd name="connsiteY13" fmla="*/ 1787659 h 192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96100" h="1926444">
                  <a:moveTo>
                    <a:pt x="2926967" y="1926444"/>
                  </a:moveTo>
                  <a:lnTo>
                    <a:pt x="69134" y="1926444"/>
                  </a:lnTo>
                  <a:cubicBezTo>
                    <a:pt x="30948" y="1926444"/>
                    <a:pt x="0" y="1895349"/>
                    <a:pt x="0" y="1857015"/>
                  </a:cubicBezTo>
                  <a:lnTo>
                    <a:pt x="0" y="69429"/>
                  </a:lnTo>
                  <a:cubicBezTo>
                    <a:pt x="0" y="31096"/>
                    <a:pt x="30948" y="0"/>
                    <a:pt x="69134" y="0"/>
                  </a:cubicBezTo>
                  <a:lnTo>
                    <a:pt x="2926967" y="0"/>
                  </a:lnTo>
                  <a:cubicBezTo>
                    <a:pt x="2965153" y="0"/>
                    <a:pt x="2996100" y="31096"/>
                    <a:pt x="2996100" y="69429"/>
                  </a:cubicBezTo>
                  <a:lnTo>
                    <a:pt x="2996100" y="1857015"/>
                  </a:lnTo>
                  <a:cubicBezTo>
                    <a:pt x="2996174" y="1895423"/>
                    <a:pt x="2965153" y="1926444"/>
                    <a:pt x="2926967" y="1926444"/>
                  </a:cubicBezTo>
                  <a:close/>
                  <a:moveTo>
                    <a:pt x="138268" y="1787659"/>
                  </a:moveTo>
                  <a:lnTo>
                    <a:pt x="2857832" y="1787659"/>
                  </a:lnTo>
                  <a:lnTo>
                    <a:pt x="2857832" y="138859"/>
                  </a:lnTo>
                  <a:lnTo>
                    <a:pt x="138268" y="138859"/>
                  </a:lnTo>
                  <a:lnTo>
                    <a:pt x="138268" y="1787659"/>
                  </a:lnTo>
                  <a:close/>
                </a:path>
              </a:pathLst>
            </a:custGeom>
            <a:solidFill>
              <a:srgbClr val="FFFFFF"/>
            </a:solidFill>
            <a:ln w="7386" cap="flat">
              <a:noFill/>
              <a:prstDash val="solid"/>
              <a:miter/>
            </a:ln>
          </p:spPr>
          <p:txBody>
            <a:bodyPr rtlCol="0" anchor="ctr"/>
            <a:lstStyle/>
            <a:p>
              <a:endParaRPr lang="es-ES"/>
            </a:p>
          </p:txBody>
        </p:sp>
        <p:sp>
          <p:nvSpPr>
            <p:cNvPr id="50" name="Forma libre: forma 49">
              <a:extLst>
                <a:ext uri="{FF2B5EF4-FFF2-40B4-BE49-F238E27FC236}">
                  <a16:creationId xmlns:a16="http://schemas.microsoft.com/office/drawing/2014/main" id="{9CA84010-AC8B-4469-AE9D-6E51EEF6E16A}"/>
                </a:ext>
              </a:extLst>
            </p:cNvPr>
            <p:cNvSpPr/>
            <p:nvPr/>
          </p:nvSpPr>
          <p:spPr>
            <a:xfrm>
              <a:off x="-7892396" y="2180901"/>
              <a:ext cx="726202" cy="729008"/>
            </a:xfrm>
            <a:custGeom>
              <a:avLst/>
              <a:gdLst>
                <a:gd name="connsiteX0" fmla="*/ 363101 w 726202"/>
                <a:gd name="connsiteY0" fmla="*/ 729009 h 729008"/>
                <a:gd name="connsiteX1" fmla="*/ 0 w 726202"/>
                <a:gd name="connsiteY1" fmla="*/ 364504 h 729008"/>
                <a:gd name="connsiteX2" fmla="*/ 363101 w 726202"/>
                <a:gd name="connsiteY2" fmla="*/ 0 h 729008"/>
                <a:gd name="connsiteX3" fmla="*/ 726202 w 726202"/>
                <a:gd name="connsiteY3" fmla="*/ 364504 h 729008"/>
                <a:gd name="connsiteX4" fmla="*/ 363101 w 726202"/>
                <a:gd name="connsiteY4" fmla="*/ 729009 h 729008"/>
                <a:gd name="connsiteX5" fmla="*/ 363101 w 726202"/>
                <a:gd name="connsiteY5" fmla="*/ 138859 h 729008"/>
                <a:gd name="connsiteX6" fmla="*/ 138268 w 726202"/>
                <a:gd name="connsiteY6" fmla="*/ 364504 h 729008"/>
                <a:gd name="connsiteX7" fmla="*/ 363101 w 726202"/>
                <a:gd name="connsiteY7" fmla="*/ 590150 h 729008"/>
                <a:gd name="connsiteX8" fmla="*/ 587934 w 726202"/>
                <a:gd name="connsiteY8" fmla="*/ 364504 h 729008"/>
                <a:gd name="connsiteX9" fmla="*/ 363101 w 726202"/>
                <a:gd name="connsiteY9" fmla="*/ 138859 h 72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6202" h="729008">
                  <a:moveTo>
                    <a:pt x="363101" y="729009"/>
                  </a:moveTo>
                  <a:cubicBezTo>
                    <a:pt x="162864" y="729009"/>
                    <a:pt x="0" y="565480"/>
                    <a:pt x="0" y="364504"/>
                  </a:cubicBezTo>
                  <a:cubicBezTo>
                    <a:pt x="0" y="163528"/>
                    <a:pt x="162864" y="0"/>
                    <a:pt x="363101" y="0"/>
                  </a:cubicBezTo>
                  <a:cubicBezTo>
                    <a:pt x="563338" y="0"/>
                    <a:pt x="726202" y="163528"/>
                    <a:pt x="726202" y="364504"/>
                  </a:cubicBezTo>
                  <a:cubicBezTo>
                    <a:pt x="726202" y="565480"/>
                    <a:pt x="563265" y="729009"/>
                    <a:pt x="363101" y="729009"/>
                  </a:cubicBezTo>
                  <a:close/>
                  <a:moveTo>
                    <a:pt x="363101" y="138859"/>
                  </a:moveTo>
                  <a:cubicBezTo>
                    <a:pt x="239162" y="138859"/>
                    <a:pt x="138268" y="240049"/>
                    <a:pt x="138268" y="364504"/>
                  </a:cubicBezTo>
                  <a:cubicBezTo>
                    <a:pt x="138268" y="488886"/>
                    <a:pt x="239088" y="590150"/>
                    <a:pt x="363101" y="590150"/>
                  </a:cubicBezTo>
                  <a:cubicBezTo>
                    <a:pt x="487040" y="590150"/>
                    <a:pt x="587934" y="488960"/>
                    <a:pt x="587934" y="364504"/>
                  </a:cubicBezTo>
                  <a:cubicBezTo>
                    <a:pt x="587860" y="240049"/>
                    <a:pt x="487040" y="138859"/>
                    <a:pt x="363101" y="138859"/>
                  </a:cubicBezTo>
                  <a:close/>
                </a:path>
              </a:pathLst>
            </a:custGeom>
            <a:solidFill>
              <a:srgbClr val="FFFFFF"/>
            </a:solidFill>
            <a:ln w="7386" cap="flat">
              <a:noFill/>
              <a:prstDash val="solid"/>
              <a:miter/>
            </a:ln>
          </p:spPr>
          <p:txBody>
            <a:bodyPr rtlCol="0" anchor="ctr"/>
            <a:lstStyle/>
            <a:p>
              <a:endParaRPr lang="es-ES"/>
            </a:p>
          </p:txBody>
        </p:sp>
        <p:sp>
          <p:nvSpPr>
            <p:cNvPr id="51" name="Forma libre: forma 50">
              <a:extLst>
                <a:ext uri="{FF2B5EF4-FFF2-40B4-BE49-F238E27FC236}">
                  <a16:creationId xmlns:a16="http://schemas.microsoft.com/office/drawing/2014/main" id="{3BA5ED88-5051-4C75-A8D7-108328B8236C}"/>
                </a:ext>
              </a:extLst>
            </p:cNvPr>
            <p:cNvSpPr/>
            <p:nvPr/>
          </p:nvSpPr>
          <p:spPr>
            <a:xfrm>
              <a:off x="-7802212" y="3208087"/>
              <a:ext cx="138268" cy="359924"/>
            </a:xfrm>
            <a:custGeom>
              <a:avLst/>
              <a:gdLst>
                <a:gd name="connsiteX0" fmla="*/ 69134 w 138268"/>
                <a:gd name="connsiteY0" fmla="*/ 359925 h 359924"/>
                <a:gd name="connsiteX1" fmla="*/ 0 w 138268"/>
                <a:gd name="connsiteY1" fmla="*/ 290495 h 359924"/>
                <a:gd name="connsiteX2" fmla="*/ 0 w 138268"/>
                <a:gd name="connsiteY2" fmla="*/ 69429 h 359924"/>
                <a:gd name="connsiteX3" fmla="*/ 69134 w 138268"/>
                <a:gd name="connsiteY3" fmla="*/ 0 h 359924"/>
                <a:gd name="connsiteX4" fmla="*/ 138268 w 138268"/>
                <a:gd name="connsiteY4" fmla="*/ 69429 h 359924"/>
                <a:gd name="connsiteX5" fmla="*/ 138268 w 138268"/>
                <a:gd name="connsiteY5" fmla="*/ 290495 h 359924"/>
                <a:gd name="connsiteX6" fmla="*/ 69134 w 138268"/>
                <a:gd name="connsiteY6" fmla="*/ 359925 h 359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68" h="359924">
                  <a:moveTo>
                    <a:pt x="69134" y="359925"/>
                  </a:moveTo>
                  <a:cubicBezTo>
                    <a:pt x="30948" y="359925"/>
                    <a:pt x="0" y="328829"/>
                    <a:pt x="0" y="290495"/>
                  </a:cubicBezTo>
                  <a:lnTo>
                    <a:pt x="0" y="69429"/>
                  </a:lnTo>
                  <a:cubicBezTo>
                    <a:pt x="0" y="31095"/>
                    <a:pt x="30948" y="0"/>
                    <a:pt x="69134" y="0"/>
                  </a:cubicBezTo>
                  <a:cubicBezTo>
                    <a:pt x="107320" y="0"/>
                    <a:pt x="138268" y="31095"/>
                    <a:pt x="138268" y="69429"/>
                  </a:cubicBezTo>
                  <a:lnTo>
                    <a:pt x="138268" y="290495"/>
                  </a:lnTo>
                  <a:cubicBezTo>
                    <a:pt x="138342" y="328829"/>
                    <a:pt x="107394" y="359925"/>
                    <a:pt x="69134" y="359925"/>
                  </a:cubicBezTo>
                  <a:close/>
                </a:path>
              </a:pathLst>
            </a:custGeom>
            <a:solidFill>
              <a:srgbClr val="FFFFFF"/>
            </a:solidFill>
            <a:ln w="7386" cap="flat">
              <a:noFill/>
              <a:prstDash val="solid"/>
              <a:miter/>
            </a:ln>
          </p:spPr>
          <p:txBody>
            <a:bodyPr rtlCol="0" anchor="ctr"/>
            <a:lstStyle/>
            <a:p>
              <a:endParaRPr lang="es-ES"/>
            </a:p>
          </p:txBody>
        </p:sp>
        <p:sp>
          <p:nvSpPr>
            <p:cNvPr id="52" name="Forma libre: forma 51">
              <a:extLst>
                <a:ext uri="{FF2B5EF4-FFF2-40B4-BE49-F238E27FC236}">
                  <a16:creationId xmlns:a16="http://schemas.microsoft.com/office/drawing/2014/main" id="{B4AEE858-0273-4B86-B5DF-26D73C6ACE5B}"/>
                </a:ext>
              </a:extLst>
            </p:cNvPr>
            <p:cNvSpPr/>
            <p:nvPr/>
          </p:nvSpPr>
          <p:spPr>
            <a:xfrm>
              <a:off x="-7394720" y="3208087"/>
              <a:ext cx="138267" cy="359924"/>
            </a:xfrm>
            <a:custGeom>
              <a:avLst/>
              <a:gdLst>
                <a:gd name="connsiteX0" fmla="*/ 69134 w 138267"/>
                <a:gd name="connsiteY0" fmla="*/ 359925 h 359924"/>
                <a:gd name="connsiteX1" fmla="*/ 0 w 138267"/>
                <a:gd name="connsiteY1" fmla="*/ 290495 h 359924"/>
                <a:gd name="connsiteX2" fmla="*/ 0 w 138267"/>
                <a:gd name="connsiteY2" fmla="*/ 69429 h 359924"/>
                <a:gd name="connsiteX3" fmla="*/ 69134 w 138267"/>
                <a:gd name="connsiteY3" fmla="*/ 0 h 359924"/>
                <a:gd name="connsiteX4" fmla="*/ 138268 w 138267"/>
                <a:gd name="connsiteY4" fmla="*/ 69429 h 359924"/>
                <a:gd name="connsiteX5" fmla="*/ 138268 w 138267"/>
                <a:gd name="connsiteY5" fmla="*/ 290495 h 359924"/>
                <a:gd name="connsiteX6" fmla="*/ 69134 w 138267"/>
                <a:gd name="connsiteY6" fmla="*/ 359925 h 359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67" h="359924">
                  <a:moveTo>
                    <a:pt x="69134" y="359925"/>
                  </a:moveTo>
                  <a:cubicBezTo>
                    <a:pt x="30948" y="359925"/>
                    <a:pt x="0" y="328829"/>
                    <a:pt x="0" y="290495"/>
                  </a:cubicBezTo>
                  <a:lnTo>
                    <a:pt x="0" y="69429"/>
                  </a:lnTo>
                  <a:cubicBezTo>
                    <a:pt x="0" y="31095"/>
                    <a:pt x="30948" y="0"/>
                    <a:pt x="69134" y="0"/>
                  </a:cubicBezTo>
                  <a:cubicBezTo>
                    <a:pt x="107320" y="0"/>
                    <a:pt x="138268" y="31095"/>
                    <a:pt x="138268" y="69429"/>
                  </a:cubicBezTo>
                  <a:lnTo>
                    <a:pt x="138268" y="290495"/>
                  </a:lnTo>
                  <a:cubicBezTo>
                    <a:pt x="138268" y="328829"/>
                    <a:pt x="107320" y="359925"/>
                    <a:pt x="69134" y="359925"/>
                  </a:cubicBezTo>
                  <a:close/>
                </a:path>
              </a:pathLst>
            </a:custGeom>
            <a:solidFill>
              <a:srgbClr val="FFFFFF"/>
            </a:solidFill>
            <a:ln w="7386" cap="flat">
              <a:noFill/>
              <a:prstDash val="solid"/>
              <a:miter/>
            </a:ln>
          </p:spPr>
          <p:txBody>
            <a:bodyPr rtlCol="0" anchor="ctr"/>
            <a:lstStyle/>
            <a:p>
              <a:endParaRPr lang="es-ES"/>
            </a:p>
          </p:txBody>
        </p:sp>
        <p:sp>
          <p:nvSpPr>
            <p:cNvPr id="53" name="Forma libre: forma 52">
              <a:extLst>
                <a:ext uri="{FF2B5EF4-FFF2-40B4-BE49-F238E27FC236}">
                  <a16:creationId xmlns:a16="http://schemas.microsoft.com/office/drawing/2014/main" id="{4EAF648C-3405-477F-B464-EBA69D2963A6}"/>
                </a:ext>
              </a:extLst>
            </p:cNvPr>
            <p:cNvSpPr/>
            <p:nvPr/>
          </p:nvSpPr>
          <p:spPr>
            <a:xfrm>
              <a:off x="-8231862" y="2845777"/>
              <a:ext cx="1405059" cy="722234"/>
            </a:xfrm>
            <a:custGeom>
              <a:avLst/>
              <a:gdLst>
                <a:gd name="connsiteX0" fmla="*/ 1335925 w 1405059"/>
                <a:gd name="connsiteY0" fmla="*/ 722235 h 722234"/>
                <a:gd name="connsiteX1" fmla="*/ 69134 w 1405059"/>
                <a:gd name="connsiteY1" fmla="*/ 722235 h 722234"/>
                <a:gd name="connsiteX2" fmla="*/ 0 w 1405059"/>
                <a:gd name="connsiteY2" fmla="*/ 652805 h 722234"/>
                <a:gd name="connsiteX3" fmla="*/ 0 w 1405059"/>
                <a:gd name="connsiteY3" fmla="*/ 570376 h 722234"/>
                <a:gd name="connsiteX4" fmla="*/ 247582 w 1405059"/>
                <a:gd name="connsiteY4" fmla="*/ 34293 h 722234"/>
                <a:gd name="connsiteX5" fmla="*/ 433417 w 1405059"/>
                <a:gd name="connsiteY5" fmla="*/ 33185 h 722234"/>
                <a:gd name="connsiteX6" fmla="*/ 702493 w 1405059"/>
                <a:gd name="connsiteY6" fmla="*/ 129130 h 722234"/>
                <a:gd name="connsiteX7" fmla="*/ 971642 w 1405059"/>
                <a:gd name="connsiteY7" fmla="*/ 33185 h 722234"/>
                <a:gd name="connsiteX8" fmla="*/ 1157477 w 1405059"/>
                <a:gd name="connsiteY8" fmla="*/ 34367 h 722234"/>
                <a:gd name="connsiteX9" fmla="*/ 1405059 w 1405059"/>
                <a:gd name="connsiteY9" fmla="*/ 570450 h 722234"/>
                <a:gd name="connsiteX10" fmla="*/ 1405059 w 1405059"/>
                <a:gd name="connsiteY10" fmla="*/ 652879 h 722234"/>
                <a:gd name="connsiteX11" fmla="*/ 1335925 w 1405059"/>
                <a:gd name="connsiteY11" fmla="*/ 722235 h 722234"/>
                <a:gd name="connsiteX12" fmla="*/ 138342 w 1405059"/>
                <a:gd name="connsiteY12" fmla="*/ 583376 h 722234"/>
                <a:gd name="connsiteX13" fmla="*/ 1266791 w 1405059"/>
                <a:gd name="connsiteY13" fmla="*/ 583376 h 722234"/>
                <a:gd name="connsiteX14" fmla="*/ 1266791 w 1405059"/>
                <a:gd name="connsiteY14" fmla="*/ 570376 h 722234"/>
                <a:gd name="connsiteX15" fmla="*/ 1067957 w 1405059"/>
                <a:gd name="connsiteY15" fmla="*/ 140062 h 722234"/>
                <a:gd name="connsiteX16" fmla="*/ 1058872 w 1405059"/>
                <a:gd name="connsiteY16" fmla="*/ 140800 h 722234"/>
                <a:gd name="connsiteX17" fmla="*/ 702493 w 1405059"/>
                <a:gd name="connsiteY17" fmla="*/ 267841 h 722234"/>
                <a:gd name="connsiteX18" fmla="*/ 346187 w 1405059"/>
                <a:gd name="connsiteY18" fmla="*/ 140800 h 722234"/>
                <a:gd name="connsiteX19" fmla="*/ 337102 w 1405059"/>
                <a:gd name="connsiteY19" fmla="*/ 139988 h 722234"/>
                <a:gd name="connsiteX20" fmla="*/ 138268 w 1405059"/>
                <a:gd name="connsiteY20" fmla="*/ 570302 h 722234"/>
                <a:gd name="connsiteX21" fmla="*/ 138268 w 1405059"/>
                <a:gd name="connsiteY21" fmla="*/ 583376 h 722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05059" h="722234">
                  <a:moveTo>
                    <a:pt x="1335925" y="722235"/>
                  </a:moveTo>
                  <a:lnTo>
                    <a:pt x="69134" y="722235"/>
                  </a:lnTo>
                  <a:cubicBezTo>
                    <a:pt x="30948" y="722235"/>
                    <a:pt x="0" y="691139"/>
                    <a:pt x="0" y="652805"/>
                  </a:cubicBezTo>
                  <a:lnTo>
                    <a:pt x="0" y="570376"/>
                  </a:lnTo>
                  <a:cubicBezTo>
                    <a:pt x="0" y="363787"/>
                    <a:pt x="90258" y="168424"/>
                    <a:pt x="247582" y="34293"/>
                  </a:cubicBezTo>
                  <a:cubicBezTo>
                    <a:pt x="300541" y="-10984"/>
                    <a:pt x="378760" y="-11501"/>
                    <a:pt x="433417" y="33185"/>
                  </a:cubicBezTo>
                  <a:cubicBezTo>
                    <a:pt x="510380" y="95893"/>
                    <a:pt x="603445" y="129130"/>
                    <a:pt x="702493" y="129130"/>
                  </a:cubicBezTo>
                  <a:cubicBezTo>
                    <a:pt x="801540" y="129130"/>
                    <a:pt x="894605" y="95967"/>
                    <a:pt x="971642" y="33185"/>
                  </a:cubicBezTo>
                  <a:cubicBezTo>
                    <a:pt x="1026226" y="-11427"/>
                    <a:pt x="1104445" y="-10910"/>
                    <a:pt x="1157477" y="34367"/>
                  </a:cubicBezTo>
                  <a:cubicBezTo>
                    <a:pt x="1314875" y="168572"/>
                    <a:pt x="1405059" y="363935"/>
                    <a:pt x="1405059" y="570450"/>
                  </a:cubicBezTo>
                  <a:lnTo>
                    <a:pt x="1405059" y="652879"/>
                  </a:lnTo>
                  <a:cubicBezTo>
                    <a:pt x="1405133" y="691139"/>
                    <a:pt x="1374111" y="722235"/>
                    <a:pt x="1335925" y="722235"/>
                  </a:cubicBezTo>
                  <a:close/>
                  <a:moveTo>
                    <a:pt x="138342" y="583376"/>
                  </a:moveTo>
                  <a:lnTo>
                    <a:pt x="1266791" y="583376"/>
                  </a:lnTo>
                  <a:lnTo>
                    <a:pt x="1266791" y="570376"/>
                  </a:lnTo>
                  <a:cubicBezTo>
                    <a:pt x="1266791" y="404706"/>
                    <a:pt x="1194333" y="247825"/>
                    <a:pt x="1067957" y="140062"/>
                  </a:cubicBezTo>
                  <a:cubicBezTo>
                    <a:pt x="1065668" y="138141"/>
                    <a:pt x="1061827" y="138511"/>
                    <a:pt x="1058872" y="140800"/>
                  </a:cubicBezTo>
                  <a:cubicBezTo>
                    <a:pt x="958347" y="222712"/>
                    <a:pt x="831823" y="267841"/>
                    <a:pt x="702493" y="267841"/>
                  </a:cubicBezTo>
                  <a:cubicBezTo>
                    <a:pt x="573236" y="267841"/>
                    <a:pt x="446638" y="222786"/>
                    <a:pt x="346187" y="140800"/>
                  </a:cubicBezTo>
                  <a:cubicBezTo>
                    <a:pt x="343232" y="138437"/>
                    <a:pt x="339392" y="137994"/>
                    <a:pt x="337102" y="139988"/>
                  </a:cubicBezTo>
                  <a:cubicBezTo>
                    <a:pt x="210726" y="247751"/>
                    <a:pt x="138268" y="404558"/>
                    <a:pt x="138268" y="570302"/>
                  </a:cubicBezTo>
                  <a:lnTo>
                    <a:pt x="138268" y="583376"/>
                  </a:lnTo>
                  <a:close/>
                </a:path>
              </a:pathLst>
            </a:custGeom>
            <a:solidFill>
              <a:srgbClr val="FFFFFF"/>
            </a:solidFill>
            <a:ln w="7386" cap="flat">
              <a:noFill/>
              <a:prstDash val="solid"/>
              <a:miter/>
            </a:ln>
          </p:spPr>
          <p:txBody>
            <a:bodyPr rtlCol="0" anchor="ctr"/>
            <a:lstStyle/>
            <a:p>
              <a:endParaRPr lang="es-ES"/>
            </a:p>
          </p:txBody>
        </p:sp>
        <p:sp>
          <p:nvSpPr>
            <p:cNvPr id="54" name="Forma libre: forma 53">
              <a:extLst>
                <a:ext uri="{FF2B5EF4-FFF2-40B4-BE49-F238E27FC236}">
                  <a16:creationId xmlns:a16="http://schemas.microsoft.com/office/drawing/2014/main" id="{C96A9CA6-1158-4C7F-B518-0406C54AD6B1}"/>
                </a:ext>
              </a:extLst>
            </p:cNvPr>
            <p:cNvSpPr/>
            <p:nvPr/>
          </p:nvSpPr>
          <p:spPr>
            <a:xfrm>
              <a:off x="-6395158" y="2136362"/>
              <a:ext cx="458234" cy="460006"/>
            </a:xfrm>
            <a:custGeom>
              <a:avLst/>
              <a:gdLst>
                <a:gd name="connsiteX0" fmla="*/ 229117 w 458234"/>
                <a:gd name="connsiteY0" fmla="*/ 460007 h 460006"/>
                <a:gd name="connsiteX1" fmla="*/ 0 w 458234"/>
                <a:gd name="connsiteY1" fmla="*/ 230003 h 460006"/>
                <a:gd name="connsiteX2" fmla="*/ 229117 w 458234"/>
                <a:gd name="connsiteY2" fmla="*/ 0 h 460006"/>
                <a:gd name="connsiteX3" fmla="*/ 458234 w 458234"/>
                <a:gd name="connsiteY3" fmla="*/ 230003 h 460006"/>
                <a:gd name="connsiteX4" fmla="*/ 229117 w 458234"/>
                <a:gd name="connsiteY4" fmla="*/ 460007 h 460006"/>
                <a:gd name="connsiteX5" fmla="*/ 229117 w 458234"/>
                <a:gd name="connsiteY5" fmla="*/ 138859 h 460006"/>
                <a:gd name="connsiteX6" fmla="*/ 138342 w 458234"/>
                <a:gd name="connsiteY6" fmla="*/ 230003 h 460006"/>
                <a:gd name="connsiteX7" fmla="*/ 229117 w 458234"/>
                <a:gd name="connsiteY7" fmla="*/ 321148 h 460006"/>
                <a:gd name="connsiteX8" fmla="*/ 319892 w 458234"/>
                <a:gd name="connsiteY8" fmla="*/ 230003 h 460006"/>
                <a:gd name="connsiteX9" fmla="*/ 229117 w 458234"/>
                <a:gd name="connsiteY9" fmla="*/ 138859 h 46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234" h="460006">
                  <a:moveTo>
                    <a:pt x="229117" y="460007"/>
                  </a:moveTo>
                  <a:cubicBezTo>
                    <a:pt x="102815" y="460007"/>
                    <a:pt x="0" y="356823"/>
                    <a:pt x="0" y="230003"/>
                  </a:cubicBezTo>
                  <a:cubicBezTo>
                    <a:pt x="0" y="103184"/>
                    <a:pt x="102815" y="0"/>
                    <a:pt x="229117" y="0"/>
                  </a:cubicBezTo>
                  <a:cubicBezTo>
                    <a:pt x="355419" y="0"/>
                    <a:pt x="458234" y="103184"/>
                    <a:pt x="458234" y="230003"/>
                  </a:cubicBezTo>
                  <a:cubicBezTo>
                    <a:pt x="458234" y="356823"/>
                    <a:pt x="355419" y="460007"/>
                    <a:pt x="229117" y="460007"/>
                  </a:cubicBezTo>
                  <a:close/>
                  <a:moveTo>
                    <a:pt x="229117" y="138859"/>
                  </a:moveTo>
                  <a:cubicBezTo>
                    <a:pt x="179039" y="138859"/>
                    <a:pt x="138342" y="179778"/>
                    <a:pt x="138342" y="230003"/>
                  </a:cubicBezTo>
                  <a:cubicBezTo>
                    <a:pt x="138342" y="280303"/>
                    <a:pt x="179113" y="321148"/>
                    <a:pt x="229117" y="321148"/>
                  </a:cubicBezTo>
                  <a:cubicBezTo>
                    <a:pt x="279195" y="321148"/>
                    <a:pt x="319892" y="280229"/>
                    <a:pt x="319892" y="230003"/>
                  </a:cubicBezTo>
                  <a:cubicBezTo>
                    <a:pt x="319892" y="179704"/>
                    <a:pt x="279121" y="138859"/>
                    <a:pt x="229117" y="138859"/>
                  </a:cubicBezTo>
                  <a:close/>
                </a:path>
              </a:pathLst>
            </a:custGeom>
            <a:solidFill>
              <a:srgbClr val="FFFFFF"/>
            </a:solidFill>
            <a:ln w="7386" cap="flat">
              <a:noFill/>
              <a:prstDash val="solid"/>
              <a:miter/>
            </a:ln>
          </p:spPr>
          <p:txBody>
            <a:bodyPr rtlCol="0" anchor="ctr"/>
            <a:lstStyle/>
            <a:p>
              <a:endParaRPr lang="es-ES"/>
            </a:p>
          </p:txBody>
        </p:sp>
        <p:sp>
          <p:nvSpPr>
            <p:cNvPr id="55" name="Forma libre: forma 54">
              <a:extLst>
                <a:ext uri="{FF2B5EF4-FFF2-40B4-BE49-F238E27FC236}">
                  <a16:creationId xmlns:a16="http://schemas.microsoft.com/office/drawing/2014/main" id="{5BF10CEA-5E44-4098-9910-BDFCAD63229D}"/>
                </a:ext>
              </a:extLst>
            </p:cNvPr>
            <p:cNvSpPr/>
            <p:nvPr/>
          </p:nvSpPr>
          <p:spPr>
            <a:xfrm>
              <a:off x="-6359631" y="2695269"/>
              <a:ext cx="138268" cy="259178"/>
            </a:xfrm>
            <a:custGeom>
              <a:avLst/>
              <a:gdLst>
                <a:gd name="connsiteX0" fmla="*/ 69134 w 138268"/>
                <a:gd name="connsiteY0" fmla="*/ 259178 h 259178"/>
                <a:gd name="connsiteX1" fmla="*/ 0 w 138268"/>
                <a:gd name="connsiteY1" fmla="*/ 189749 h 259178"/>
                <a:gd name="connsiteX2" fmla="*/ 0 w 138268"/>
                <a:gd name="connsiteY2" fmla="*/ 69429 h 259178"/>
                <a:gd name="connsiteX3" fmla="*/ 69134 w 138268"/>
                <a:gd name="connsiteY3" fmla="*/ 0 h 259178"/>
                <a:gd name="connsiteX4" fmla="*/ 138268 w 138268"/>
                <a:gd name="connsiteY4" fmla="*/ 69429 h 259178"/>
                <a:gd name="connsiteX5" fmla="*/ 138268 w 138268"/>
                <a:gd name="connsiteY5" fmla="*/ 189749 h 259178"/>
                <a:gd name="connsiteX6" fmla="*/ 69134 w 138268"/>
                <a:gd name="connsiteY6" fmla="*/ 259178 h 25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68" h="259178">
                  <a:moveTo>
                    <a:pt x="69134" y="259178"/>
                  </a:moveTo>
                  <a:cubicBezTo>
                    <a:pt x="30948" y="259178"/>
                    <a:pt x="0" y="228083"/>
                    <a:pt x="0" y="189749"/>
                  </a:cubicBezTo>
                  <a:lnTo>
                    <a:pt x="0" y="69429"/>
                  </a:lnTo>
                  <a:cubicBezTo>
                    <a:pt x="0" y="31095"/>
                    <a:pt x="30948" y="0"/>
                    <a:pt x="69134" y="0"/>
                  </a:cubicBezTo>
                  <a:cubicBezTo>
                    <a:pt x="107320" y="0"/>
                    <a:pt x="138268" y="31095"/>
                    <a:pt x="138268" y="69429"/>
                  </a:cubicBezTo>
                  <a:lnTo>
                    <a:pt x="138268" y="189749"/>
                  </a:lnTo>
                  <a:cubicBezTo>
                    <a:pt x="138342" y="228083"/>
                    <a:pt x="107394" y="259178"/>
                    <a:pt x="69134" y="259178"/>
                  </a:cubicBezTo>
                  <a:close/>
                </a:path>
              </a:pathLst>
            </a:custGeom>
            <a:solidFill>
              <a:srgbClr val="FFFFFF"/>
            </a:solidFill>
            <a:ln w="7386" cap="flat">
              <a:noFill/>
              <a:prstDash val="solid"/>
              <a:miter/>
            </a:ln>
          </p:spPr>
          <p:txBody>
            <a:bodyPr rtlCol="0" anchor="ctr"/>
            <a:lstStyle/>
            <a:p>
              <a:endParaRPr lang="es-ES"/>
            </a:p>
          </p:txBody>
        </p:sp>
        <p:sp>
          <p:nvSpPr>
            <p:cNvPr id="56" name="Forma libre: forma 55">
              <a:extLst>
                <a:ext uri="{FF2B5EF4-FFF2-40B4-BE49-F238E27FC236}">
                  <a16:creationId xmlns:a16="http://schemas.microsoft.com/office/drawing/2014/main" id="{C3FE1790-C3D8-4360-9D7D-2F6D8B72393F}"/>
                </a:ext>
              </a:extLst>
            </p:cNvPr>
            <p:cNvSpPr/>
            <p:nvPr/>
          </p:nvSpPr>
          <p:spPr>
            <a:xfrm>
              <a:off x="-6110793" y="2695269"/>
              <a:ext cx="138267" cy="259178"/>
            </a:xfrm>
            <a:custGeom>
              <a:avLst/>
              <a:gdLst>
                <a:gd name="connsiteX0" fmla="*/ 69134 w 138267"/>
                <a:gd name="connsiteY0" fmla="*/ 259178 h 259178"/>
                <a:gd name="connsiteX1" fmla="*/ 0 w 138267"/>
                <a:gd name="connsiteY1" fmla="*/ 189749 h 259178"/>
                <a:gd name="connsiteX2" fmla="*/ 0 w 138267"/>
                <a:gd name="connsiteY2" fmla="*/ 69429 h 259178"/>
                <a:gd name="connsiteX3" fmla="*/ 69134 w 138267"/>
                <a:gd name="connsiteY3" fmla="*/ 0 h 259178"/>
                <a:gd name="connsiteX4" fmla="*/ 138268 w 138267"/>
                <a:gd name="connsiteY4" fmla="*/ 69429 h 259178"/>
                <a:gd name="connsiteX5" fmla="*/ 138268 w 138267"/>
                <a:gd name="connsiteY5" fmla="*/ 189749 h 259178"/>
                <a:gd name="connsiteX6" fmla="*/ 69134 w 138267"/>
                <a:gd name="connsiteY6" fmla="*/ 259178 h 25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67" h="259178">
                  <a:moveTo>
                    <a:pt x="69134" y="259178"/>
                  </a:moveTo>
                  <a:cubicBezTo>
                    <a:pt x="30948" y="259178"/>
                    <a:pt x="0" y="228083"/>
                    <a:pt x="0" y="189749"/>
                  </a:cubicBezTo>
                  <a:lnTo>
                    <a:pt x="0" y="69429"/>
                  </a:lnTo>
                  <a:cubicBezTo>
                    <a:pt x="0" y="31095"/>
                    <a:pt x="30948" y="0"/>
                    <a:pt x="69134" y="0"/>
                  </a:cubicBezTo>
                  <a:cubicBezTo>
                    <a:pt x="107320" y="0"/>
                    <a:pt x="138268" y="31095"/>
                    <a:pt x="138268" y="69429"/>
                  </a:cubicBezTo>
                  <a:lnTo>
                    <a:pt x="138268" y="189749"/>
                  </a:lnTo>
                  <a:cubicBezTo>
                    <a:pt x="138268" y="228083"/>
                    <a:pt x="107320" y="259178"/>
                    <a:pt x="69134" y="259178"/>
                  </a:cubicBezTo>
                  <a:close/>
                </a:path>
              </a:pathLst>
            </a:custGeom>
            <a:solidFill>
              <a:srgbClr val="FFFFFF"/>
            </a:solidFill>
            <a:ln w="7386" cap="flat">
              <a:noFill/>
              <a:prstDash val="solid"/>
              <a:miter/>
            </a:ln>
          </p:spPr>
          <p:txBody>
            <a:bodyPr rtlCol="0" anchor="ctr"/>
            <a:lstStyle/>
            <a:p>
              <a:endParaRPr lang="es-ES"/>
            </a:p>
          </p:txBody>
        </p:sp>
        <p:sp>
          <p:nvSpPr>
            <p:cNvPr id="57" name="Forma libre: forma 56">
              <a:extLst>
                <a:ext uri="{FF2B5EF4-FFF2-40B4-BE49-F238E27FC236}">
                  <a16:creationId xmlns:a16="http://schemas.microsoft.com/office/drawing/2014/main" id="{3F736FFF-BDCE-4D41-83FA-9E0FF750AD91}"/>
                </a:ext>
              </a:extLst>
            </p:cNvPr>
            <p:cNvSpPr/>
            <p:nvPr/>
          </p:nvSpPr>
          <p:spPr>
            <a:xfrm>
              <a:off x="-6579811" y="2539731"/>
              <a:ext cx="827761" cy="414716"/>
            </a:xfrm>
            <a:custGeom>
              <a:avLst/>
              <a:gdLst>
                <a:gd name="connsiteX0" fmla="*/ 758405 w 827761"/>
                <a:gd name="connsiteY0" fmla="*/ 414717 h 414716"/>
                <a:gd name="connsiteX1" fmla="*/ 69134 w 827761"/>
                <a:gd name="connsiteY1" fmla="*/ 414717 h 414716"/>
                <a:gd name="connsiteX2" fmla="*/ 0 w 827761"/>
                <a:gd name="connsiteY2" fmla="*/ 345287 h 414716"/>
                <a:gd name="connsiteX3" fmla="*/ 0 w 827761"/>
                <a:gd name="connsiteY3" fmla="*/ 300454 h 414716"/>
                <a:gd name="connsiteX4" fmla="*/ 106581 w 827761"/>
                <a:gd name="connsiteY4" fmla="*/ 22884 h 414716"/>
                <a:gd name="connsiteX5" fmla="*/ 204226 w 827761"/>
                <a:gd name="connsiteY5" fmla="*/ 18009 h 414716"/>
                <a:gd name="connsiteX6" fmla="*/ 209101 w 827761"/>
                <a:gd name="connsiteY6" fmla="*/ 116023 h 414716"/>
                <a:gd name="connsiteX7" fmla="*/ 139376 w 827761"/>
                <a:gd name="connsiteY7" fmla="*/ 275932 h 414716"/>
                <a:gd name="connsiteX8" fmla="*/ 688237 w 827761"/>
                <a:gd name="connsiteY8" fmla="*/ 275932 h 414716"/>
                <a:gd name="connsiteX9" fmla="*/ 618513 w 827761"/>
                <a:gd name="connsiteY9" fmla="*/ 116023 h 414716"/>
                <a:gd name="connsiteX10" fmla="*/ 623461 w 827761"/>
                <a:gd name="connsiteY10" fmla="*/ 18009 h 414716"/>
                <a:gd name="connsiteX11" fmla="*/ 721180 w 827761"/>
                <a:gd name="connsiteY11" fmla="*/ 22958 h 414716"/>
                <a:gd name="connsiteX12" fmla="*/ 827761 w 827761"/>
                <a:gd name="connsiteY12" fmla="*/ 300528 h 414716"/>
                <a:gd name="connsiteX13" fmla="*/ 827761 w 827761"/>
                <a:gd name="connsiteY13" fmla="*/ 345361 h 414716"/>
                <a:gd name="connsiteX14" fmla="*/ 758405 w 827761"/>
                <a:gd name="connsiteY14" fmla="*/ 414717 h 41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7761" h="414716">
                  <a:moveTo>
                    <a:pt x="758405" y="414717"/>
                  </a:moveTo>
                  <a:lnTo>
                    <a:pt x="69134" y="414717"/>
                  </a:lnTo>
                  <a:cubicBezTo>
                    <a:pt x="30948" y="414717"/>
                    <a:pt x="0" y="383621"/>
                    <a:pt x="0" y="345287"/>
                  </a:cubicBezTo>
                  <a:lnTo>
                    <a:pt x="0" y="300454"/>
                  </a:lnTo>
                  <a:cubicBezTo>
                    <a:pt x="0" y="197713"/>
                    <a:pt x="37817" y="99109"/>
                    <a:pt x="106581" y="22884"/>
                  </a:cubicBezTo>
                  <a:cubicBezTo>
                    <a:pt x="132138" y="-5553"/>
                    <a:pt x="175863" y="-7842"/>
                    <a:pt x="204226" y="18009"/>
                  </a:cubicBezTo>
                  <a:cubicBezTo>
                    <a:pt x="232588" y="43713"/>
                    <a:pt x="234730" y="87586"/>
                    <a:pt x="209101" y="116023"/>
                  </a:cubicBezTo>
                  <a:cubicBezTo>
                    <a:pt x="168994" y="160635"/>
                    <a:pt x="144694" y="216622"/>
                    <a:pt x="139376" y="275932"/>
                  </a:cubicBezTo>
                  <a:lnTo>
                    <a:pt x="688237" y="275932"/>
                  </a:lnTo>
                  <a:cubicBezTo>
                    <a:pt x="682919" y="216695"/>
                    <a:pt x="658693" y="160635"/>
                    <a:pt x="618513" y="116023"/>
                  </a:cubicBezTo>
                  <a:cubicBezTo>
                    <a:pt x="592883" y="87586"/>
                    <a:pt x="595099" y="43713"/>
                    <a:pt x="623461" y="18009"/>
                  </a:cubicBezTo>
                  <a:cubicBezTo>
                    <a:pt x="651824" y="-7695"/>
                    <a:pt x="695476" y="-5479"/>
                    <a:pt x="721180" y="22958"/>
                  </a:cubicBezTo>
                  <a:cubicBezTo>
                    <a:pt x="789870" y="99256"/>
                    <a:pt x="827761" y="197787"/>
                    <a:pt x="827761" y="300528"/>
                  </a:cubicBezTo>
                  <a:lnTo>
                    <a:pt x="827761" y="345361"/>
                  </a:lnTo>
                  <a:cubicBezTo>
                    <a:pt x="827539" y="383621"/>
                    <a:pt x="796592" y="414717"/>
                    <a:pt x="758405" y="414717"/>
                  </a:cubicBezTo>
                  <a:close/>
                </a:path>
              </a:pathLst>
            </a:custGeom>
            <a:solidFill>
              <a:srgbClr val="FFFFFF"/>
            </a:solidFill>
            <a:ln w="7386" cap="flat">
              <a:noFill/>
              <a:prstDash val="solid"/>
              <a:miter/>
            </a:ln>
          </p:spPr>
          <p:txBody>
            <a:bodyPr rtlCol="0" anchor="ctr"/>
            <a:lstStyle/>
            <a:p>
              <a:endParaRPr lang="es-ES"/>
            </a:p>
          </p:txBody>
        </p:sp>
        <p:sp>
          <p:nvSpPr>
            <p:cNvPr id="58" name="Forma libre: forma 57">
              <a:extLst>
                <a:ext uri="{FF2B5EF4-FFF2-40B4-BE49-F238E27FC236}">
                  <a16:creationId xmlns:a16="http://schemas.microsoft.com/office/drawing/2014/main" id="{5E8A4EDD-C224-4968-9942-468AADD315D0}"/>
                </a:ext>
              </a:extLst>
            </p:cNvPr>
            <p:cNvSpPr/>
            <p:nvPr/>
          </p:nvSpPr>
          <p:spPr>
            <a:xfrm>
              <a:off x="-6395158" y="3035399"/>
              <a:ext cx="458234" cy="460006"/>
            </a:xfrm>
            <a:custGeom>
              <a:avLst/>
              <a:gdLst>
                <a:gd name="connsiteX0" fmla="*/ 229117 w 458234"/>
                <a:gd name="connsiteY0" fmla="*/ 460007 h 460006"/>
                <a:gd name="connsiteX1" fmla="*/ 0 w 458234"/>
                <a:gd name="connsiteY1" fmla="*/ 230003 h 460006"/>
                <a:gd name="connsiteX2" fmla="*/ 229117 w 458234"/>
                <a:gd name="connsiteY2" fmla="*/ 0 h 460006"/>
                <a:gd name="connsiteX3" fmla="*/ 458234 w 458234"/>
                <a:gd name="connsiteY3" fmla="*/ 230003 h 460006"/>
                <a:gd name="connsiteX4" fmla="*/ 229117 w 458234"/>
                <a:gd name="connsiteY4" fmla="*/ 460007 h 460006"/>
                <a:gd name="connsiteX5" fmla="*/ 229117 w 458234"/>
                <a:gd name="connsiteY5" fmla="*/ 138859 h 460006"/>
                <a:gd name="connsiteX6" fmla="*/ 138342 w 458234"/>
                <a:gd name="connsiteY6" fmla="*/ 230003 h 460006"/>
                <a:gd name="connsiteX7" fmla="*/ 229117 w 458234"/>
                <a:gd name="connsiteY7" fmla="*/ 321148 h 460006"/>
                <a:gd name="connsiteX8" fmla="*/ 319892 w 458234"/>
                <a:gd name="connsiteY8" fmla="*/ 230003 h 460006"/>
                <a:gd name="connsiteX9" fmla="*/ 229117 w 458234"/>
                <a:gd name="connsiteY9" fmla="*/ 138859 h 46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234" h="460006">
                  <a:moveTo>
                    <a:pt x="229117" y="460007"/>
                  </a:moveTo>
                  <a:cubicBezTo>
                    <a:pt x="102815" y="460007"/>
                    <a:pt x="0" y="356823"/>
                    <a:pt x="0" y="230003"/>
                  </a:cubicBezTo>
                  <a:cubicBezTo>
                    <a:pt x="0" y="103184"/>
                    <a:pt x="102815" y="0"/>
                    <a:pt x="229117" y="0"/>
                  </a:cubicBezTo>
                  <a:cubicBezTo>
                    <a:pt x="355419" y="0"/>
                    <a:pt x="458234" y="103184"/>
                    <a:pt x="458234" y="230003"/>
                  </a:cubicBezTo>
                  <a:cubicBezTo>
                    <a:pt x="458234" y="356823"/>
                    <a:pt x="355419" y="460007"/>
                    <a:pt x="229117" y="460007"/>
                  </a:cubicBezTo>
                  <a:close/>
                  <a:moveTo>
                    <a:pt x="229117" y="138859"/>
                  </a:moveTo>
                  <a:cubicBezTo>
                    <a:pt x="179039" y="138859"/>
                    <a:pt x="138342" y="179778"/>
                    <a:pt x="138342" y="230003"/>
                  </a:cubicBezTo>
                  <a:cubicBezTo>
                    <a:pt x="138342" y="280229"/>
                    <a:pt x="179113" y="321148"/>
                    <a:pt x="229117" y="321148"/>
                  </a:cubicBezTo>
                  <a:cubicBezTo>
                    <a:pt x="279195" y="321148"/>
                    <a:pt x="319892" y="280229"/>
                    <a:pt x="319892" y="230003"/>
                  </a:cubicBezTo>
                  <a:cubicBezTo>
                    <a:pt x="319892" y="179778"/>
                    <a:pt x="279121" y="138859"/>
                    <a:pt x="229117" y="138859"/>
                  </a:cubicBezTo>
                  <a:close/>
                </a:path>
              </a:pathLst>
            </a:custGeom>
            <a:solidFill>
              <a:srgbClr val="FFFFFF"/>
            </a:solidFill>
            <a:ln w="7386" cap="flat">
              <a:noFill/>
              <a:prstDash val="solid"/>
              <a:miter/>
            </a:ln>
          </p:spPr>
          <p:txBody>
            <a:bodyPr rtlCol="0" anchor="ctr"/>
            <a:lstStyle/>
            <a:p>
              <a:endParaRPr lang="es-ES"/>
            </a:p>
          </p:txBody>
        </p:sp>
        <p:sp>
          <p:nvSpPr>
            <p:cNvPr id="59" name="Forma libre: forma 58">
              <a:extLst>
                <a:ext uri="{FF2B5EF4-FFF2-40B4-BE49-F238E27FC236}">
                  <a16:creationId xmlns:a16="http://schemas.microsoft.com/office/drawing/2014/main" id="{6FB3F43B-8AEB-492A-B31C-F8ADA8A9F844}"/>
                </a:ext>
              </a:extLst>
            </p:cNvPr>
            <p:cNvSpPr/>
            <p:nvPr/>
          </p:nvSpPr>
          <p:spPr>
            <a:xfrm>
              <a:off x="-6359631" y="3594306"/>
              <a:ext cx="138268" cy="259178"/>
            </a:xfrm>
            <a:custGeom>
              <a:avLst/>
              <a:gdLst>
                <a:gd name="connsiteX0" fmla="*/ 69134 w 138268"/>
                <a:gd name="connsiteY0" fmla="*/ 259178 h 259178"/>
                <a:gd name="connsiteX1" fmla="*/ 0 w 138268"/>
                <a:gd name="connsiteY1" fmla="*/ 189749 h 259178"/>
                <a:gd name="connsiteX2" fmla="*/ 0 w 138268"/>
                <a:gd name="connsiteY2" fmla="*/ 69429 h 259178"/>
                <a:gd name="connsiteX3" fmla="*/ 69134 w 138268"/>
                <a:gd name="connsiteY3" fmla="*/ 0 h 259178"/>
                <a:gd name="connsiteX4" fmla="*/ 138268 w 138268"/>
                <a:gd name="connsiteY4" fmla="*/ 69429 h 259178"/>
                <a:gd name="connsiteX5" fmla="*/ 138268 w 138268"/>
                <a:gd name="connsiteY5" fmla="*/ 189749 h 259178"/>
                <a:gd name="connsiteX6" fmla="*/ 69134 w 138268"/>
                <a:gd name="connsiteY6" fmla="*/ 259178 h 25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68" h="259178">
                  <a:moveTo>
                    <a:pt x="69134" y="259178"/>
                  </a:moveTo>
                  <a:cubicBezTo>
                    <a:pt x="30948" y="259178"/>
                    <a:pt x="0" y="228083"/>
                    <a:pt x="0" y="189749"/>
                  </a:cubicBezTo>
                  <a:lnTo>
                    <a:pt x="0" y="69429"/>
                  </a:lnTo>
                  <a:cubicBezTo>
                    <a:pt x="0" y="31096"/>
                    <a:pt x="30948" y="0"/>
                    <a:pt x="69134" y="0"/>
                  </a:cubicBezTo>
                  <a:cubicBezTo>
                    <a:pt x="107320" y="0"/>
                    <a:pt x="138268" y="31096"/>
                    <a:pt x="138268" y="69429"/>
                  </a:cubicBezTo>
                  <a:lnTo>
                    <a:pt x="138268" y="189749"/>
                  </a:lnTo>
                  <a:cubicBezTo>
                    <a:pt x="138342" y="228157"/>
                    <a:pt x="107394" y="259178"/>
                    <a:pt x="69134" y="259178"/>
                  </a:cubicBezTo>
                  <a:close/>
                </a:path>
              </a:pathLst>
            </a:custGeom>
            <a:solidFill>
              <a:srgbClr val="FFFFFF"/>
            </a:solidFill>
            <a:ln w="7386" cap="flat">
              <a:noFill/>
              <a:prstDash val="solid"/>
              <a:miter/>
            </a:ln>
          </p:spPr>
          <p:txBody>
            <a:bodyPr rtlCol="0" anchor="ctr"/>
            <a:lstStyle/>
            <a:p>
              <a:endParaRPr lang="es-ES"/>
            </a:p>
          </p:txBody>
        </p:sp>
        <p:sp>
          <p:nvSpPr>
            <p:cNvPr id="60" name="Forma libre: forma 59">
              <a:extLst>
                <a:ext uri="{FF2B5EF4-FFF2-40B4-BE49-F238E27FC236}">
                  <a16:creationId xmlns:a16="http://schemas.microsoft.com/office/drawing/2014/main" id="{778EF552-FD61-441C-AA34-D6B4A2697DF5}"/>
                </a:ext>
              </a:extLst>
            </p:cNvPr>
            <p:cNvSpPr/>
            <p:nvPr/>
          </p:nvSpPr>
          <p:spPr>
            <a:xfrm>
              <a:off x="-6110793" y="3594306"/>
              <a:ext cx="138267" cy="259178"/>
            </a:xfrm>
            <a:custGeom>
              <a:avLst/>
              <a:gdLst>
                <a:gd name="connsiteX0" fmla="*/ 69134 w 138267"/>
                <a:gd name="connsiteY0" fmla="*/ 259178 h 259178"/>
                <a:gd name="connsiteX1" fmla="*/ 0 w 138267"/>
                <a:gd name="connsiteY1" fmla="*/ 189749 h 259178"/>
                <a:gd name="connsiteX2" fmla="*/ 0 w 138267"/>
                <a:gd name="connsiteY2" fmla="*/ 69429 h 259178"/>
                <a:gd name="connsiteX3" fmla="*/ 69134 w 138267"/>
                <a:gd name="connsiteY3" fmla="*/ 0 h 259178"/>
                <a:gd name="connsiteX4" fmla="*/ 138268 w 138267"/>
                <a:gd name="connsiteY4" fmla="*/ 69429 h 259178"/>
                <a:gd name="connsiteX5" fmla="*/ 138268 w 138267"/>
                <a:gd name="connsiteY5" fmla="*/ 189749 h 259178"/>
                <a:gd name="connsiteX6" fmla="*/ 69134 w 138267"/>
                <a:gd name="connsiteY6" fmla="*/ 259178 h 25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267" h="259178">
                  <a:moveTo>
                    <a:pt x="69134" y="259178"/>
                  </a:moveTo>
                  <a:cubicBezTo>
                    <a:pt x="30948" y="259178"/>
                    <a:pt x="0" y="228083"/>
                    <a:pt x="0" y="189749"/>
                  </a:cubicBezTo>
                  <a:lnTo>
                    <a:pt x="0" y="69429"/>
                  </a:lnTo>
                  <a:cubicBezTo>
                    <a:pt x="0" y="31096"/>
                    <a:pt x="30948" y="0"/>
                    <a:pt x="69134" y="0"/>
                  </a:cubicBezTo>
                  <a:cubicBezTo>
                    <a:pt x="107320" y="0"/>
                    <a:pt x="138268" y="31096"/>
                    <a:pt x="138268" y="69429"/>
                  </a:cubicBezTo>
                  <a:lnTo>
                    <a:pt x="138268" y="189749"/>
                  </a:lnTo>
                  <a:cubicBezTo>
                    <a:pt x="138268" y="228157"/>
                    <a:pt x="107320" y="259178"/>
                    <a:pt x="69134" y="259178"/>
                  </a:cubicBezTo>
                  <a:close/>
                </a:path>
              </a:pathLst>
            </a:custGeom>
            <a:solidFill>
              <a:srgbClr val="FFFFFF"/>
            </a:solidFill>
            <a:ln w="7386" cap="flat">
              <a:noFill/>
              <a:prstDash val="solid"/>
              <a:miter/>
            </a:ln>
          </p:spPr>
          <p:txBody>
            <a:bodyPr rtlCol="0" anchor="ctr"/>
            <a:lstStyle/>
            <a:p>
              <a:endParaRPr lang="es-ES"/>
            </a:p>
          </p:txBody>
        </p:sp>
        <p:sp>
          <p:nvSpPr>
            <p:cNvPr id="61" name="Forma libre: forma 60">
              <a:extLst>
                <a:ext uri="{FF2B5EF4-FFF2-40B4-BE49-F238E27FC236}">
                  <a16:creationId xmlns:a16="http://schemas.microsoft.com/office/drawing/2014/main" id="{59F4101F-155B-4C54-BF42-D0DB2C3DD422}"/>
                </a:ext>
              </a:extLst>
            </p:cNvPr>
            <p:cNvSpPr/>
            <p:nvPr/>
          </p:nvSpPr>
          <p:spPr>
            <a:xfrm>
              <a:off x="-6579811" y="3438712"/>
              <a:ext cx="827761" cy="414772"/>
            </a:xfrm>
            <a:custGeom>
              <a:avLst/>
              <a:gdLst>
                <a:gd name="connsiteX0" fmla="*/ 758405 w 827761"/>
                <a:gd name="connsiteY0" fmla="*/ 414773 h 414772"/>
                <a:gd name="connsiteX1" fmla="*/ 69134 w 827761"/>
                <a:gd name="connsiteY1" fmla="*/ 414773 h 414772"/>
                <a:gd name="connsiteX2" fmla="*/ 0 w 827761"/>
                <a:gd name="connsiteY2" fmla="*/ 345343 h 414772"/>
                <a:gd name="connsiteX3" fmla="*/ 0 w 827761"/>
                <a:gd name="connsiteY3" fmla="*/ 300509 h 414772"/>
                <a:gd name="connsiteX4" fmla="*/ 106508 w 827761"/>
                <a:gd name="connsiteY4" fmla="*/ 22866 h 414772"/>
                <a:gd name="connsiteX5" fmla="*/ 204152 w 827761"/>
                <a:gd name="connsiteY5" fmla="*/ 17917 h 414772"/>
                <a:gd name="connsiteX6" fmla="*/ 209101 w 827761"/>
                <a:gd name="connsiteY6" fmla="*/ 116005 h 414772"/>
                <a:gd name="connsiteX7" fmla="*/ 139376 w 827761"/>
                <a:gd name="connsiteY7" fmla="*/ 275914 h 414772"/>
                <a:gd name="connsiteX8" fmla="*/ 688237 w 827761"/>
                <a:gd name="connsiteY8" fmla="*/ 275914 h 414772"/>
                <a:gd name="connsiteX9" fmla="*/ 618513 w 827761"/>
                <a:gd name="connsiteY9" fmla="*/ 116005 h 414772"/>
                <a:gd name="connsiteX10" fmla="*/ 623461 w 827761"/>
                <a:gd name="connsiteY10" fmla="*/ 17917 h 414772"/>
                <a:gd name="connsiteX11" fmla="*/ 721180 w 827761"/>
                <a:gd name="connsiteY11" fmla="*/ 22866 h 414772"/>
                <a:gd name="connsiteX12" fmla="*/ 827761 w 827761"/>
                <a:gd name="connsiteY12" fmla="*/ 300509 h 414772"/>
                <a:gd name="connsiteX13" fmla="*/ 827761 w 827761"/>
                <a:gd name="connsiteY13" fmla="*/ 345343 h 414772"/>
                <a:gd name="connsiteX14" fmla="*/ 758405 w 827761"/>
                <a:gd name="connsiteY14" fmla="*/ 414773 h 41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27761" h="414772">
                  <a:moveTo>
                    <a:pt x="758405" y="414773"/>
                  </a:moveTo>
                  <a:lnTo>
                    <a:pt x="69134" y="414773"/>
                  </a:lnTo>
                  <a:cubicBezTo>
                    <a:pt x="30948" y="414773"/>
                    <a:pt x="0" y="383677"/>
                    <a:pt x="0" y="345343"/>
                  </a:cubicBezTo>
                  <a:lnTo>
                    <a:pt x="0" y="300509"/>
                  </a:lnTo>
                  <a:cubicBezTo>
                    <a:pt x="0" y="197769"/>
                    <a:pt x="37817" y="99164"/>
                    <a:pt x="106508" y="22866"/>
                  </a:cubicBezTo>
                  <a:cubicBezTo>
                    <a:pt x="132064" y="-5571"/>
                    <a:pt x="175863" y="-7787"/>
                    <a:pt x="204152" y="17917"/>
                  </a:cubicBezTo>
                  <a:cubicBezTo>
                    <a:pt x="232515" y="43621"/>
                    <a:pt x="234657" y="87494"/>
                    <a:pt x="209101" y="116005"/>
                  </a:cubicBezTo>
                  <a:cubicBezTo>
                    <a:pt x="168920" y="160617"/>
                    <a:pt x="144620" y="216603"/>
                    <a:pt x="139376" y="275914"/>
                  </a:cubicBezTo>
                  <a:lnTo>
                    <a:pt x="688237" y="275914"/>
                  </a:lnTo>
                  <a:cubicBezTo>
                    <a:pt x="682919" y="216677"/>
                    <a:pt x="658693" y="160617"/>
                    <a:pt x="618513" y="116005"/>
                  </a:cubicBezTo>
                  <a:cubicBezTo>
                    <a:pt x="592883" y="87568"/>
                    <a:pt x="595099" y="43695"/>
                    <a:pt x="623461" y="17917"/>
                  </a:cubicBezTo>
                  <a:cubicBezTo>
                    <a:pt x="651824" y="-7787"/>
                    <a:pt x="695476" y="-5571"/>
                    <a:pt x="721180" y="22866"/>
                  </a:cubicBezTo>
                  <a:cubicBezTo>
                    <a:pt x="789870" y="99164"/>
                    <a:pt x="827761" y="197769"/>
                    <a:pt x="827761" y="300509"/>
                  </a:cubicBezTo>
                  <a:lnTo>
                    <a:pt x="827761" y="345343"/>
                  </a:lnTo>
                  <a:cubicBezTo>
                    <a:pt x="827539" y="383751"/>
                    <a:pt x="796592" y="414773"/>
                    <a:pt x="758405" y="414773"/>
                  </a:cubicBezTo>
                  <a:close/>
                </a:path>
              </a:pathLst>
            </a:custGeom>
            <a:solidFill>
              <a:srgbClr val="FFFFFF"/>
            </a:solidFill>
            <a:ln w="7386" cap="flat">
              <a:noFill/>
              <a:prstDash val="solid"/>
              <a:miter/>
            </a:ln>
          </p:spPr>
          <p:txBody>
            <a:bodyPr rtlCol="0" anchor="ctr"/>
            <a:lstStyle/>
            <a:p>
              <a:endParaRPr lang="es-ES"/>
            </a:p>
          </p:txBody>
        </p:sp>
      </p:grpSp>
      <p:grpSp>
        <p:nvGrpSpPr>
          <p:cNvPr id="62" name="Gráfico 104">
            <a:extLst>
              <a:ext uri="{FF2B5EF4-FFF2-40B4-BE49-F238E27FC236}">
                <a16:creationId xmlns:a16="http://schemas.microsoft.com/office/drawing/2014/main" id="{2D54A6C5-3494-44E9-8635-04E685B999AD}"/>
              </a:ext>
            </a:extLst>
          </p:cNvPr>
          <p:cNvGrpSpPr/>
          <p:nvPr/>
        </p:nvGrpSpPr>
        <p:grpSpPr>
          <a:xfrm>
            <a:off x="7525781" y="4136931"/>
            <a:ext cx="599857" cy="574998"/>
            <a:chOff x="-3906336" y="1236809"/>
            <a:chExt cx="4060068" cy="3891813"/>
          </a:xfrm>
          <a:solidFill>
            <a:srgbClr val="FFFFFF"/>
          </a:solidFill>
        </p:grpSpPr>
        <p:sp>
          <p:nvSpPr>
            <p:cNvPr id="63" name="Forma libre: forma 62">
              <a:extLst>
                <a:ext uri="{FF2B5EF4-FFF2-40B4-BE49-F238E27FC236}">
                  <a16:creationId xmlns:a16="http://schemas.microsoft.com/office/drawing/2014/main" id="{56AB65EF-5394-4B92-8188-13A6A6679595}"/>
                </a:ext>
              </a:extLst>
            </p:cNvPr>
            <p:cNvSpPr/>
            <p:nvPr/>
          </p:nvSpPr>
          <p:spPr>
            <a:xfrm>
              <a:off x="-2658601" y="4989763"/>
              <a:ext cx="1564672" cy="138858"/>
            </a:xfrm>
            <a:custGeom>
              <a:avLst/>
              <a:gdLst>
                <a:gd name="connsiteX0" fmla="*/ 1495465 w 1564672"/>
                <a:gd name="connsiteY0" fmla="*/ 138859 h 138858"/>
                <a:gd name="connsiteX1" fmla="*/ 69134 w 1564672"/>
                <a:gd name="connsiteY1" fmla="*/ 138859 h 138858"/>
                <a:gd name="connsiteX2" fmla="*/ 0 w 1564672"/>
                <a:gd name="connsiteY2" fmla="*/ 69430 h 138858"/>
                <a:gd name="connsiteX3" fmla="*/ 69134 w 1564672"/>
                <a:gd name="connsiteY3" fmla="*/ 0 h 138858"/>
                <a:gd name="connsiteX4" fmla="*/ 1495539 w 1564672"/>
                <a:gd name="connsiteY4" fmla="*/ 0 h 138858"/>
                <a:gd name="connsiteX5" fmla="*/ 1564673 w 1564672"/>
                <a:gd name="connsiteY5" fmla="*/ 69430 h 138858"/>
                <a:gd name="connsiteX6" fmla="*/ 1495465 w 1564672"/>
                <a:gd name="connsiteY6" fmla="*/ 138859 h 13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64672" h="138858">
                  <a:moveTo>
                    <a:pt x="1495465" y="138859"/>
                  </a:moveTo>
                  <a:lnTo>
                    <a:pt x="69134" y="138859"/>
                  </a:lnTo>
                  <a:cubicBezTo>
                    <a:pt x="30948" y="138859"/>
                    <a:pt x="0" y="107763"/>
                    <a:pt x="0" y="69430"/>
                  </a:cubicBezTo>
                  <a:cubicBezTo>
                    <a:pt x="0" y="31096"/>
                    <a:pt x="30948" y="0"/>
                    <a:pt x="69134" y="0"/>
                  </a:cubicBezTo>
                  <a:lnTo>
                    <a:pt x="1495539" y="0"/>
                  </a:lnTo>
                  <a:cubicBezTo>
                    <a:pt x="1533725" y="0"/>
                    <a:pt x="1564673" y="31096"/>
                    <a:pt x="1564673" y="69430"/>
                  </a:cubicBezTo>
                  <a:cubicBezTo>
                    <a:pt x="1564673" y="107763"/>
                    <a:pt x="1533725" y="138859"/>
                    <a:pt x="1495465" y="138859"/>
                  </a:cubicBezTo>
                  <a:close/>
                </a:path>
              </a:pathLst>
            </a:custGeom>
            <a:solidFill>
              <a:srgbClr val="FFFFFF"/>
            </a:solidFill>
            <a:ln w="7386" cap="flat">
              <a:noFill/>
              <a:prstDash val="solid"/>
              <a:miter/>
            </a:ln>
          </p:spPr>
          <p:txBody>
            <a:bodyPr rtlCol="0" anchor="ctr"/>
            <a:lstStyle/>
            <a:p>
              <a:endParaRPr lang="es-ES"/>
            </a:p>
          </p:txBody>
        </p:sp>
        <p:sp>
          <p:nvSpPr>
            <p:cNvPr id="64" name="Forma libre: forma 63">
              <a:extLst>
                <a:ext uri="{FF2B5EF4-FFF2-40B4-BE49-F238E27FC236}">
                  <a16:creationId xmlns:a16="http://schemas.microsoft.com/office/drawing/2014/main" id="{24C5E241-C365-493E-A232-7E2CDC672A99}"/>
                </a:ext>
              </a:extLst>
            </p:cNvPr>
            <p:cNvSpPr/>
            <p:nvPr/>
          </p:nvSpPr>
          <p:spPr>
            <a:xfrm>
              <a:off x="-3017566" y="4265481"/>
              <a:ext cx="787580" cy="138858"/>
            </a:xfrm>
            <a:custGeom>
              <a:avLst/>
              <a:gdLst>
                <a:gd name="connsiteX0" fmla="*/ 718447 w 787580"/>
                <a:gd name="connsiteY0" fmla="*/ 138859 h 138858"/>
                <a:gd name="connsiteX1" fmla="*/ 69134 w 787580"/>
                <a:gd name="connsiteY1" fmla="*/ 138859 h 138858"/>
                <a:gd name="connsiteX2" fmla="*/ 0 w 787580"/>
                <a:gd name="connsiteY2" fmla="*/ 69430 h 138858"/>
                <a:gd name="connsiteX3" fmla="*/ 69134 w 787580"/>
                <a:gd name="connsiteY3" fmla="*/ 0 h 138858"/>
                <a:gd name="connsiteX4" fmla="*/ 718447 w 787580"/>
                <a:gd name="connsiteY4" fmla="*/ 0 h 138858"/>
                <a:gd name="connsiteX5" fmla="*/ 787581 w 787580"/>
                <a:gd name="connsiteY5" fmla="*/ 69430 h 138858"/>
                <a:gd name="connsiteX6" fmla="*/ 718447 w 787580"/>
                <a:gd name="connsiteY6" fmla="*/ 138859 h 13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580" h="138858">
                  <a:moveTo>
                    <a:pt x="718447" y="138859"/>
                  </a:moveTo>
                  <a:lnTo>
                    <a:pt x="69134" y="138859"/>
                  </a:lnTo>
                  <a:cubicBezTo>
                    <a:pt x="30948" y="138859"/>
                    <a:pt x="0" y="107763"/>
                    <a:pt x="0" y="69430"/>
                  </a:cubicBezTo>
                  <a:cubicBezTo>
                    <a:pt x="0" y="31096"/>
                    <a:pt x="30948" y="0"/>
                    <a:pt x="69134" y="0"/>
                  </a:cubicBezTo>
                  <a:lnTo>
                    <a:pt x="718447" y="0"/>
                  </a:lnTo>
                  <a:cubicBezTo>
                    <a:pt x="756633" y="0"/>
                    <a:pt x="787581" y="31096"/>
                    <a:pt x="787581" y="69430"/>
                  </a:cubicBezTo>
                  <a:cubicBezTo>
                    <a:pt x="787655" y="107763"/>
                    <a:pt x="756707" y="138859"/>
                    <a:pt x="718447" y="138859"/>
                  </a:cubicBezTo>
                  <a:close/>
                </a:path>
              </a:pathLst>
            </a:custGeom>
            <a:solidFill>
              <a:srgbClr val="FFFFFF"/>
            </a:solidFill>
            <a:ln w="7386" cap="flat">
              <a:noFill/>
              <a:prstDash val="solid"/>
              <a:miter/>
            </a:ln>
          </p:spPr>
          <p:txBody>
            <a:bodyPr rtlCol="0" anchor="ctr"/>
            <a:lstStyle/>
            <a:p>
              <a:endParaRPr lang="es-ES"/>
            </a:p>
          </p:txBody>
        </p:sp>
        <p:sp>
          <p:nvSpPr>
            <p:cNvPr id="65" name="Forma libre: forma 64">
              <a:extLst>
                <a:ext uri="{FF2B5EF4-FFF2-40B4-BE49-F238E27FC236}">
                  <a16:creationId xmlns:a16="http://schemas.microsoft.com/office/drawing/2014/main" id="{9C807BFC-417C-4887-BEFF-C97AED327157}"/>
                </a:ext>
              </a:extLst>
            </p:cNvPr>
            <p:cNvSpPr/>
            <p:nvPr/>
          </p:nvSpPr>
          <p:spPr>
            <a:xfrm>
              <a:off x="-1522618" y="4265481"/>
              <a:ext cx="787580" cy="138858"/>
            </a:xfrm>
            <a:custGeom>
              <a:avLst/>
              <a:gdLst>
                <a:gd name="connsiteX0" fmla="*/ 718446 w 787580"/>
                <a:gd name="connsiteY0" fmla="*/ 138859 h 138858"/>
                <a:gd name="connsiteX1" fmla="*/ 69134 w 787580"/>
                <a:gd name="connsiteY1" fmla="*/ 138859 h 138858"/>
                <a:gd name="connsiteX2" fmla="*/ 0 w 787580"/>
                <a:gd name="connsiteY2" fmla="*/ 69430 h 138858"/>
                <a:gd name="connsiteX3" fmla="*/ 69134 w 787580"/>
                <a:gd name="connsiteY3" fmla="*/ 0 h 138858"/>
                <a:gd name="connsiteX4" fmla="*/ 718446 w 787580"/>
                <a:gd name="connsiteY4" fmla="*/ 0 h 138858"/>
                <a:gd name="connsiteX5" fmla="*/ 787580 w 787580"/>
                <a:gd name="connsiteY5" fmla="*/ 69430 h 138858"/>
                <a:gd name="connsiteX6" fmla="*/ 718446 w 787580"/>
                <a:gd name="connsiteY6" fmla="*/ 138859 h 13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580" h="138858">
                  <a:moveTo>
                    <a:pt x="718446" y="138859"/>
                  </a:moveTo>
                  <a:lnTo>
                    <a:pt x="69134" y="138859"/>
                  </a:lnTo>
                  <a:cubicBezTo>
                    <a:pt x="30948" y="138859"/>
                    <a:pt x="0" y="107763"/>
                    <a:pt x="0" y="69430"/>
                  </a:cubicBezTo>
                  <a:cubicBezTo>
                    <a:pt x="0" y="31096"/>
                    <a:pt x="30948" y="0"/>
                    <a:pt x="69134" y="0"/>
                  </a:cubicBezTo>
                  <a:lnTo>
                    <a:pt x="718446" y="0"/>
                  </a:lnTo>
                  <a:cubicBezTo>
                    <a:pt x="756633" y="0"/>
                    <a:pt x="787580" y="31096"/>
                    <a:pt x="787580" y="69430"/>
                  </a:cubicBezTo>
                  <a:cubicBezTo>
                    <a:pt x="787580" y="107763"/>
                    <a:pt x="756633" y="138859"/>
                    <a:pt x="718446" y="138859"/>
                  </a:cubicBezTo>
                  <a:close/>
                </a:path>
              </a:pathLst>
            </a:custGeom>
            <a:solidFill>
              <a:srgbClr val="FFFFFF"/>
            </a:solidFill>
            <a:ln w="7386" cap="flat">
              <a:noFill/>
              <a:prstDash val="solid"/>
              <a:miter/>
            </a:ln>
          </p:spPr>
          <p:txBody>
            <a:bodyPr rtlCol="0" anchor="ctr"/>
            <a:lstStyle/>
            <a:p>
              <a:endParaRPr lang="es-ES"/>
            </a:p>
          </p:txBody>
        </p:sp>
        <p:sp>
          <p:nvSpPr>
            <p:cNvPr id="66" name="Forma libre: forma 65">
              <a:extLst>
                <a:ext uri="{FF2B5EF4-FFF2-40B4-BE49-F238E27FC236}">
                  <a16:creationId xmlns:a16="http://schemas.microsoft.com/office/drawing/2014/main" id="{EE925BF8-59E4-44DC-AE7B-43653FA12E36}"/>
                </a:ext>
              </a:extLst>
            </p:cNvPr>
            <p:cNvSpPr/>
            <p:nvPr/>
          </p:nvSpPr>
          <p:spPr>
            <a:xfrm>
              <a:off x="-2469486" y="4551663"/>
              <a:ext cx="1186252" cy="576958"/>
            </a:xfrm>
            <a:custGeom>
              <a:avLst/>
              <a:gdLst>
                <a:gd name="connsiteX0" fmla="*/ 919391 w 1186252"/>
                <a:gd name="connsiteY0" fmla="*/ 576959 h 576958"/>
                <a:gd name="connsiteX1" fmla="*/ 266977 w 1186252"/>
                <a:gd name="connsiteY1" fmla="*/ 576959 h 576958"/>
                <a:gd name="connsiteX2" fmla="*/ 203973 w 1186252"/>
                <a:gd name="connsiteY2" fmla="*/ 536188 h 576958"/>
                <a:gd name="connsiteX3" fmla="*/ 6174 w 1186252"/>
                <a:gd name="connsiteY3" fmla="*/ 98117 h 576958"/>
                <a:gd name="connsiteX4" fmla="*/ 40593 w 1186252"/>
                <a:gd name="connsiteY4" fmla="*/ 6234 h 576958"/>
                <a:gd name="connsiteX5" fmla="*/ 132107 w 1186252"/>
                <a:gd name="connsiteY5" fmla="*/ 40801 h 576958"/>
                <a:gd name="connsiteX6" fmla="*/ 311515 w 1186252"/>
                <a:gd name="connsiteY6" fmla="*/ 438100 h 576958"/>
                <a:gd name="connsiteX7" fmla="*/ 874706 w 1186252"/>
                <a:gd name="connsiteY7" fmla="*/ 438100 h 576958"/>
                <a:gd name="connsiteX8" fmla="*/ 1054114 w 1186252"/>
                <a:gd name="connsiteY8" fmla="*/ 40801 h 576958"/>
                <a:gd name="connsiteX9" fmla="*/ 1145628 w 1186252"/>
                <a:gd name="connsiteY9" fmla="*/ 6234 h 576958"/>
                <a:gd name="connsiteX10" fmla="*/ 1180047 w 1186252"/>
                <a:gd name="connsiteY10" fmla="*/ 98117 h 576958"/>
                <a:gd name="connsiteX11" fmla="*/ 982247 w 1186252"/>
                <a:gd name="connsiteY11" fmla="*/ 536188 h 576958"/>
                <a:gd name="connsiteX12" fmla="*/ 919391 w 1186252"/>
                <a:gd name="connsiteY12" fmla="*/ 576959 h 576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6252" h="576958">
                  <a:moveTo>
                    <a:pt x="919391" y="576959"/>
                  </a:moveTo>
                  <a:lnTo>
                    <a:pt x="266977" y="576959"/>
                  </a:lnTo>
                  <a:cubicBezTo>
                    <a:pt x="239796" y="576959"/>
                    <a:pt x="215200" y="561005"/>
                    <a:pt x="203973" y="536188"/>
                  </a:cubicBezTo>
                  <a:lnTo>
                    <a:pt x="6174" y="98117"/>
                  </a:lnTo>
                  <a:cubicBezTo>
                    <a:pt x="-9559" y="63181"/>
                    <a:pt x="5804" y="22041"/>
                    <a:pt x="40593" y="6234"/>
                  </a:cubicBezTo>
                  <a:cubicBezTo>
                    <a:pt x="75455" y="-9646"/>
                    <a:pt x="116374" y="5865"/>
                    <a:pt x="132107" y="40801"/>
                  </a:cubicBezTo>
                  <a:lnTo>
                    <a:pt x="311515" y="438100"/>
                  </a:lnTo>
                  <a:lnTo>
                    <a:pt x="874706" y="438100"/>
                  </a:lnTo>
                  <a:lnTo>
                    <a:pt x="1054114" y="40801"/>
                  </a:lnTo>
                  <a:cubicBezTo>
                    <a:pt x="1069920" y="5865"/>
                    <a:pt x="1110840" y="-9572"/>
                    <a:pt x="1145628" y="6234"/>
                  </a:cubicBezTo>
                  <a:cubicBezTo>
                    <a:pt x="1180417" y="22041"/>
                    <a:pt x="1195854" y="63181"/>
                    <a:pt x="1180047" y="98117"/>
                  </a:cubicBezTo>
                  <a:lnTo>
                    <a:pt x="982247" y="536188"/>
                  </a:lnTo>
                  <a:cubicBezTo>
                    <a:pt x="971168" y="561005"/>
                    <a:pt x="946499" y="576959"/>
                    <a:pt x="919391" y="576959"/>
                  </a:cubicBezTo>
                  <a:close/>
                </a:path>
              </a:pathLst>
            </a:custGeom>
            <a:solidFill>
              <a:srgbClr val="FFFFFF"/>
            </a:solidFill>
            <a:ln w="7386" cap="flat">
              <a:noFill/>
              <a:prstDash val="solid"/>
              <a:miter/>
            </a:ln>
          </p:spPr>
          <p:txBody>
            <a:bodyPr rtlCol="0" anchor="ctr"/>
            <a:lstStyle/>
            <a:p>
              <a:endParaRPr lang="es-ES"/>
            </a:p>
          </p:txBody>
        </p:sp>
        <p:sp>
          <p:nvSpPr>
            <p:cNvPr id="67" name="Forma libre: forma 66">
              <a:extLst>
                <a:ext uri="{FF2B5EF4-FFF2-40B4-BE49-F238E27FC236}">
                  <a16:creationId xmlns:a16="http://schemas.microsoft.com/office/drawing/2014/main" id="{D09E8A7A-258B-47F0-B2A5-8A8ADC7B61DF}"/>
                </a:ext>
              </a:extLst>
            </p:cNvPr>
            <p:cNvSpPr/>
            <p:nvPr/>
          </p:nvSpPr>
          <p:spPr>
            <a:xfrm>
              <a:off x="-3017492" y="2809828"/>
              <a:ext cx="2282528" cy="1880724"/>
            </a:xfrm>
            <a:custGeom>
              <a:avLst/>
              <a:gdLst>
                <a:gd name="connsiteX0" fmla="*/ 2115160 w 2282528"/>
                <a:gd name="connsiteY0" fmla="*/ 1880724 h 1880724"/>
                <a:gd name="connsiteX1" fmla="*/ 1443467 w 2282528"/>
                <a:gd name="connsiteY1" fmla="*/ 1880724 h 1880724"/>
                <a:gd name="connsiteX2" fmla="*/ 1356237 w 2282528"/>
                <a:gd name="connsiteY2" fmla="*/ 1797704 h 1880724"/>
                <a:gd name="connsiteX3" fmla="*/ 1141227 w 2282528"/>
                <a:gd name="connsiteY3" fmla="*/ 1595104 h 1880724"/>
                <a:gd name="connsiteX4" fmla="*/ 926218 w 2282528"/>
                <a:gd name="connsiteY4" fmla="*/ 1797778 h 1880724"/>
                <a:gd name="connsiteX5" fmla="*/ 838988 w 2282528"/>
                <a:gd name="connsiteY5" fmla="*/ 1880724 h 1880724"/>
                <a:gd name="connsiteX6" fmla="*/ 167296 w 2282528"/>
                <a:gd name="connsiteY6" fmla="*/ 1880724 h 1880724"/>
                <a:gd name="connsiteX7" fmla="*/ 0 w 2282528"/>
                <a:gd name="connsiteY7" fmla="*/ 1712764 h 1880724"/>
                <a:gd name="connsiteX8" fmla="*/ 0 w 2282528"/>
                <a:gd name="connsiteY8" fmla="*/ 167960 h 1880724"/>
                <a:gd name="connsiteX9" fmla="*/ 167296 w 2282528"/>
                <a:gd name="connsiteY9" fmla="*/ 0 h 1880724"/>
                <a:gd name="connsiteX10" fmla="*/ 2115234 w 2282528"/>
                <a:gd name="connsiteY10" fmla="*/ 0 h 1880724"/>
                <a:gd name="connsiteX11" fmla="*/ 2282528 w 2282528"/>
                <a:gd name="connsiteY11" fmla="*/ 167960 h 1880724"/>
                <a:gd name="connsiteX12" fmla="*/ 2282528 w 2282528"/>
                <a:gd name="connsiteY12" fmla="*/ 1712764 h 1880724"/>
                <a:gd name="connsiteX13" fmla="*/ 2115160 w 2282528"/>
                <a:gd name="connsiteY13" fmla="*/ 1880724 h 1880724"/>
                <a:gd name="connsiteX14" fmla="*/ 1488153 w 2282528"/>
                <a:gd name="connsiteY14" fmla="*/ 1741865 h 1880724"/>
                <a:gd name="connsiteX15" fmla="*/ 2115160 w 2282528"/>
                <a:gd name="connsiteY15" fmla="*/ 1741865 h 1880724"/>
                <a:gd name="connsiteX16" fmla="*/ 2144113 w 2282528"/>
                <a:gd name="connsiteY16" fmla="*/ 1712764 h 1880724"/>
                <a:gd name="connsiteX17" fmla="*/ 2144113 w 2282528"/>
                <a:gd name="connsiteY17" fmla="*/ 167960 h 1880724"/>
                <a:gd name="connsiteX18" fmla="*/ 2115160 w 2282528"/>
                <a:gd name="connsiteY18" fmla="*/ 138859 h 1880724"/>
                <a:gd name="connsiteX19" fmla="*/ 167222 w 2282528"/>
                <a:gd name="connsiteY19" fmla="*/ 138859 h 1880724"/>
                <a:gd name="connsiteX20" fmla="*/ 138194 w 2282528"/>
                <a:gd name="connsiteY20" fmla="*/ 167960 h 1880724"/>
                <a:gd name="connsiteX21" fmla="*/ 138194 w 2282528"/>
                <a:gd name="connsiteY21" fmla="*/ 1712764 h 1880724"/>
                <a:gd name="connsiteX22" fmla="*/ 167222 w 2282528"/>
                <a:gd name="connsiteY22" fmla="*/ 1741865 h 1880724"/>
                <a:gd name="connsiteX23" fmla="*/ 794228 w 2282528"/>
                <a:gd name="connsiteY23" fmla="*/ 1741865 h 1880724"/>
                <a:gd name="connsiteX24" fmla="*/ 1141227 w 2282528"/>
                <a:gd name="connsiteY24" fmla="*/ 1456245 h 1880724"/>
                <a:gd name="connsiteX25" fmla="*/ 1488153 w 2282528"/>
                <a:gd name="connsiteY25" fmla="*/ 1741865 h 1880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82528" h="1880724">
                  <a:moveTo>
                    <a:pt x="2115160" y="1880724"/>
                  </a:moveTo>
                  <a:lnTo>
                    <a:pt x="1443467" y="1880724"/>
                  </a:lnTo>
                  <a:cubicBezTo>
                    <a:pt x="1397304" y="1880724"/>
                    <a:pt x="1358970" y="1844237"/>
                    <a:pt x="1356237" y="1797704"/>
                  </a:cubicBezTo>
                  <a:cubicBezTo>
                    <a:pt x="1349294" y="1684106"/>
                    <a:pt x="1254826" y="1595104"/>
                    <a:pt x="1141227" y="1595104"/>
                  </a:cubicBezTo>
                  <a:cubicBezTo>
                    <a:pt x="1027629" y="1595104"/>
                    <a:pt x="933161" y="1684106"/>
                    <a:pt x="926218" y="1797778"/>
                  </a:cubicBezTo>
                  <a:cubicBezTo>
                    <a:pt x="923411" y="1844237"/>
                    <a:pt x="885077" y="1880724"/>
                    <a:pt x="838988" y="1880724"/>
                  </a:cubicBezTo>
                  <a:lnTo>
                    <a:pt x="167296" y="1880724"/>
                  </a:lnTo>
                  <a:cubicBezTo>
                    <a:pt x="75043" y="1880724"/>
                    <a:pt x="0" y="1805386"/>
                    <a:pt x="0" y="1712764"/>
                  </a:cubicBezTo>
                  <a:lnTo>
                    <a:pt x="0" y="167960"/>
                  </a:lnTo>
                  <a:cubicBezTo>
                    <a:pt x="0" y="75338"/>
                    <a:pt x="75043" y="0"/>
                    <a:pt x="167296" y="0"/>
                  </a:cubicBezTo>
                  <a:lnTo>
                    <a:pt x="2115234" y="0"/>
                  </a:lnTo>
                  <a:cubicBezTo>
                    <a:pt x="2207486" y="0"/>
                    <a:pt x="2282528" y="75338"/>
                    <a:pt x="2282528" y="167960"/>
                  </a:cubicBezTo>
                  <a:lnTo>
                    <a:pt x="2282528" y="1712764"/>
                  </a:lnTo>
                  <a:cubicBezTo>
                    <a:pt x="2282454" y="1805386"/>
                    <a:pt x="2207412" y="1880724"/>
                    <a:pt x="2115160" y="1880724"/>
                  </a:cubicBezTo>
                  <a:close/>
                  <a:moveTo>
                    <a:pt x="1488153" y="1741865"/>
                  </a:moveTo>
                  <a:lnTo>
                    <a:pt x="2115160" y="1741865"/>
                  </a:lnTo>
                  <a:cubicBezTo>
                    <a:pt x="2131187" y="1741865"/>
                    <a:pt x="2144113" y="1728792"/>
                    <a:pt x="2144113" y="1712764"/>
                  </a:cubicBezTo>
                  <a:lnTo>
                    <a:pt x="2144113" y="167960"/>
                  </a:lnTo>
                  <a:cubicBezTo>
                    <a:pt x="2144113" y="151932"/>
                    <a:pt x="2131113" y="138859"/>
                    <a:pt x="2115160" y="138859"/>
                  </a:cubicBezTo>
                  <a:lnTo>
                    <a:pt x="167222" y="138859"/>
                  </a:lnTo>
                  <a:cubicBezTo>
                    <a:pt x="151194" y="138859"/>
                    <a:pt x="138194" y="151932"/>
                    <a:pt x="138194" y="167960"/>
                  </a:cubicBezTo>
                  <a:lnTo>
                    <a:pt x="138194" y="1712764"/>
                  </a:lnTo>
                  <a:cubicBezTo>
                    <a:pt x="138194" y="1728792"/>
                    <a:pt x="151194" y="1741865"/>
                    <a:pt x="167222" y="1741865"/>
                  </a:cubicBezTo>
                  <a:lnTo>
                    <a:pt x="794228" y="1741865"/>
                  </a:lnTo>
                  <a:cubicBezTo>
                    <a:pt x="826579" y="1578337"/>
                    <a:pt x="970756" y="1456245"/>
                    <a:pt x="1141227" y="1456245"/>
                  </a:cubicBezTo>
                  <a:cubicBezTo>
                    <a:pt x="1311625" y="1456245"/>
                    <a:pt x="1455802" y="1578337"/>
                    <a:pt x="1488153" y="1741865"/>
                  </a:cubicBezTo>
                  <a:close/>
                </a:path>
              </a:pathLst>
            </a:custGeom>
            <a:solidFill>
              <a:srgbClr val="FFFFFF"/>
            </a:solidFill>
            <a:ln w="7386" cap="flat">
              <a:noFill/>
              <a:prstDash val="solid"/>
              <a:miter/>
            </a:ln>
          </p:spPr>
          <p:txBody>
            <a:bodyPr rtlCol="0" anchor="ctr"/>
            <a:lstStyle/>
            <a:p>
              <a:endParaRPr lang="es-ES"/>
            </a:p>
          </p:txBody>
        </p:sp>
        <p:sp>
          <p:nvSpPr>
            <p:cNvPr id="68" name="Forma libre: forma 67">
              <a:extLst>
                <a:ext uri="{FF2B5EF4-FFF2-40B4-BE49-F238E27FC236}">
                  <a16:creationId xmlns:a16="http://schemas.microsoft.com/office/drawing/2014/main" id="{96C3E6C9-58F0-487F-84B8-C5170D620F99}"/>
                </a:ext>
              </a:extLst>
            </p:cNvPr>
            <p:cNvSpPr/>
            <p:nvPr/>
          </p:nvSpPr>
          <p:spPr>
            <a:xfrm>
              <a:off x="-3017566" y="3053421"/>
              <a:ext cx="2282528" cy="138858"/>
            </a:xfrm>
            <a:custGeom>
              <a:avLst/>
              <a:gdLst>
                <a:gd name="connsiteX0" fmla="*/ 2213395 w 2282528"/>
                <a:gd name="connsiteY0" fmla="*/ 138859 h 138858"/>
                <a:gd name="connsiteX1" fmla="*/ 69134 w 2282528"/>
                <a:gd name="connsiteY1" fmla="*/ 138859 h 138858"/>
                <a:gd name="connsiteX2" fmla="*/ 0 w 2282528"/>
                <a:gd name="connsiteY2" fmla="*/ 69429 h 138858"/>
                <a:gd name="connsiteX3" fmla="*/ 69134 w 2282528"/>
                <a:gd name="connsiteY3" fmla="*/ 0 h 138858"/>
                <a:gd name="connsiteX4" fmla="*/ 2213395 w 2282528"/>
                <a:gd name="connsiteY4" fmla="*/ 0 h 138858"/>
                <a:gd name="connsiteX5" fmla="*/ 2282528 w 2282528"/>
                <a:gd name="connsiteY5" fmla="*/ 69429 h 138858"/>
                <a:gd name="connsiteX6" fmla="*/ 2213395 w 2282528"/>
                <a:gd name="connsiteY6" fmla="*/ 138859 h 13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2528" h="138858">
                  <a:moveTo>
                    <a:pt x="2213395" y="138859"/>
                  </a:moveTo>
                  <a:lnTo>
                    <a:pt x="69134" y="138859"/>
                  </a:lnTo>
                  <a:cubicBezTo>
                    <a:pt x="30948" y="138859"/>
                    <a:pt x="0" y="107763"/>
                    <a:pt x="0" y="69429"/>
                  </a:cubicBezTo>
                  <a:cubicBezTo>
                    <a:pt x="0" y="31096"/>
                    <a:pt x="30948" y="0"/>
                    <a:pt x="69134" y="0"/>
                  </a:cubicBezTo>
                  <a:lnTo>
                    <a:pt x="2213395" y="0"/>
                  </a:lnTo>
                  <a:cubicBezTo>
                    <a:pt x="2251581" y="0"/>
                    <a:pt x="2282528" y="31096"/>
                    <a:pt x="2282528" y="69429"/>
                  </a:cubicBezTo>
                  <a:cubicBezTo>
                    <a:pt x="2282528" y="107837"/>
                    <a:pt x="2251581" y="138859"/>
                    <a:pt x="2213395" y="138859"/>
                  </a:cubicBezTo>
                  <a:close/>
                </a:path>
              </a:pathLst>
            </a:custGeom>
            <a:solidFill>
              <a:srgbClr val="FFFFFF"/>
            </a:solidFill>
            <a:ln w="7386" cap="flat">
              <a:noFill/>
              <a:prstDash val="solid"/>
              <a:miter/>
            </a:ln>
          </p:spPr>
          <p:txBody>
            <a:bodyPr rtlCol="0" anchor="ctr"/>
            <a:lstStyle/>
            <a:p>
              <a:endParaRPr lang="es-ES"/>
            </a:p>
          </p:txBody>
        </p:sp>
        <p:sp>
          <p:nvSpPr>
            <p:cNvPr id="69" name="Forma libre: forma 68">
              <a:extLst>
                <a:ext uri="{FF2B5EF4-FFF2-40B4-BE49-F238E27FC236}">
                  <a16:creationId xmlns:a16="http://schemas.microsoft.com/office/drawing/2014/main" id="{5D15950F-E609-4B4F-B80E-8F28942AEDC9}"/>
                </a:ext>
              </a:extLst>
            </p:cNvPr>
            <p:cNvSpPr/>
            <p:nvPr/>
          </p:nvSpPr>
          <p:spPr>
            <a:xfrm>
              <a:off x="-2144676" y="3405665"/>
              <a:ext cx="612899" cy="688976"/>
            </a:xfrm>
            <a:custGeom>
              <a:avLst/>
              <a:gdLst>
                <a:gd name="connsiteX0" fmla="*/ 69134 w 612899"/>
                <a:gd name="connsiteY0" fmla="*/ 688976 h 688976"/>
                <a:gd name="connsiteX1" fmla="*/ 34567 w 612899"/>
                <a:gd name="connsiteY1" fmla="*/ 679670 h 688976"/>
                <a:gd name="connsiteX2" fmla="*/ 0 w 612899"/>
                <a:gd name="connsiteY2" fmla="*/ 619547 h 688976"/>
                <a:gd name="connsiteX3" fmla="*/ 0 w 612899"/>
                <a:gd name="connsiteY3" fmla="*/ 69429 h 688976"/>
                <a:gd name="connsiteX4" fmla="*/ 34567 w 612899"/>
                <a:gd name="connsiteY4" fmla="*/ 9306 h 688976"/>
                <a:gd name="connsiteX5" fmla="*/ 103701 w 612899"/>
                <a:gd name="connsiteY5" fmla="*/ 9306 h 688976"/>
                <a:gd name="connsiteX6" fmla="*/ 578333 w 612899"/>
                <a:gd name="connsiteY6" fmla="*/ 284365 h 688976"/>
                <a:gd name="connsiteX7" fmla="*/ 612899 w 612899"/>
                <a:gd name="connsiteY7" fmla="*/ 344488 h 688976"/>
                <a:gd name="connsiteX8" fmla="*/ 578333 w 612899"/>
                <a:gd name="connsiteY8" fmla="*/ 404611 h 688976"/>
                <a:gd name="connsiteX9" fmla="*/ 103701 w 612899"/>
                <a:gd name="connsiteY9" fmla="*/ 679670 h 688976"/>
                <a:gd name="connsiteX10" fmla="*/ 69134 w 612899"/>
                <a:gd name="connsiteY10" fmla="*/ 688976 h 688976"/>
                <a:gd name="connsiteX11" fmla="*/ 138342 w 612899"/>
                <a:gd name="connsiteY11" fmla="*/ 189749 h 688976"/>
                <a:gd name="connsiteX12" fmla="*/ 138342 w 612899"/>
                <a:gd name="connsiteY12" fmla="*/ 499375 h 688976"/>
                <a:gd name="connsiteX13" fmla="*/ 405424 w 612899"/>
                <a:gd name="connsiteY13" fmla="*/ 344562 h 688976"/>
                <a:gd name="connsiteX14" fmla="*/ 138342 w 612899"/>
                <a:gd name="connsiteY14" fmla="*/ 189749 h 68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12899" h="688976">
                  <a:moveTo>
                    <a:pt x="69134" y="688976"/>
                  </a:moveTo>
                  <a:cubicBezTo>
                    <a:pt x="57169" y="688976"/>
                    <a:pt x="45277" y="685874"/>
                    <a:pt x="34567" y="679670"/>
                  </a:cubicBezTo>
                  <a:cubicBezTo>
                    <a:pt x="13147" y="667261"/>
                    <a:pt x="0" y="644364"/>
                    <a:pt x="0" y="619547"/>
                  </a:cubicBezTo>
                  <a:lnTo>
                    <a:pt x="0" y="69429"/>
                  </a:lnTo>
                  <a:cubicBezTo>
                    <a:pt x="0" y="44612"/>
                    <a:pt x="13221" y="21715"/>
                    <a:pt x="34567" y="9306"/>
                  </a:cubicBezTo>
                  <a:cubicBezTo>
                    <a:pt x="55987" y="-3102"/>
                    <a:pt x="82355" y="-3102"/>
                    <a:pt x="103701" y="9306"/>
                  </a:cubicBezTo>
                  <a:lnTo>
                    <a:pt x="578333" y="284365"/>
                  </a:lnTo>
                  <a:cubicBezTo>
                    <a:pt x="599752" y="296774"/>
                    <a:pt x="612899" y="319671"/>
                    <a:pt x="612899" y="344488"/>
                  </a:cubicBezTo>
                  <a:cubicBezTo>
                    <a:pt x="612899" y="369305"/>
                    <a:pt x="599752" y="392202"/>
                    <a:pt x="578333" y="404611"/>
                  </a:cubicBezTo>
                  <a:lnTo>
                    <a:pt x="103701" y="679670"/>
                  </a:lnTo>
                  <a:cubicBezTo>
                    <a:pt x="93065" y="685874"/>
                    <a:pt x="81100" y="688976"/>
                    <a:pt x="69134" y="688976"/>
                  </a:cubicBezTo>
                  <a:close/>
                  <a:moveTo>
                    <a:pt x="138342" y="189749"/>
                  </a:moveTo>
                  <a:lnTo>
                    <a:pt x="138342" y="499375"/>
                  </a:lnTo>
                  <a:lnTo>
                    <a:pt x="405424" y="344562"/>
                  </a:lnTo>
                  <a:lnTo>
                    <a:pt x="138342" y="189749"/>
                  </a:lnTo>
                  <a:close/>
                </a:path>
              </a:pathLst>
            </a:custGeom>
            <a:solidFill>
              <a:srgbClr val="FFFFFF"/>
            </a:solidFill>
            <a:ln w="7386" cap="flat">
              <a:noFill/>
              <a:prstDash val="solid"/>
              <a:miter/>
            </a:ln>
          </p:spPr>
          <p:txBody>
            <a:bodyPr rtlCol="0" anchor="ctr"/>
            <a:lstStyle/>
            <a:p>
              <a:endParaRPr lang="es-ES"/>
            </a:p>
          </p:txBody>
        </p:sp>
        <p:sp>
          <p:nvSpPr>
            <p:cNvPr id="70" name="Forma libre: forma 69">
              <a:extLst>
                <a:ext uri="{FF2B5EF4-FFF2-40B4-BE49-F238E27FC236}">
                  <a16:creationId xmlns:a16="http://schemas.microsoft.com/office/drawing/2014/main" id="{48D3EA84-C458-4911-A83F-CC012044A544}"/>
                </a:ext>
              </a:extLst>
            </p:cNvPr>
            <p:cNvSpPr/>
            <p:nvPr/>
          </p:nvSpPr>
          <p:spPr>
            <a:xfrm>
              <a:off x="-2247343" y="1236809"/>
              <a:ext cx="742155" cy="744888"/>
            </a:xfrm>
            <a:custGeom>
              <a:avLst/>
              <a:gdLst>
                <a:gd name="connsiteX0" fmla="*/ 371078 w 742155"/>
                <a:gd name="connsiteY0" fmla="*/ 744889 h 744888"/>
                <a:gd name="connsiteX1" fmla="*/ 0 w 742155"/>
                <a:gd name="connsiteY1" fmla="*/ 372407 h 744888"/>
                <a:gd name="connsiteX2" fmla="*/ 371078 w 742155"/>
                <a:gd name="connsiteY2" fmla="*/ 0 h 744888"/>
                <a:gd name="connsiteX3" fmla="*/ 742156 w 742155"/>
                <a:gd name="connsiteY3" fmla="*/ 372407 h 744888"/>
                <a:gd name="connsiteX4" fmla="*/ 371078 w 742155"/>
                <a:gd name="connsiteY4" fmla="*/ 744889 h 744888"/>
                <a:gd name="connsiteX5" fmla="*/ 371078 w 742155"/>
                <a:gd name="connsiteY5" fmla="*/ 138859 h 744888"/>
                <a:gd name="connsiteX6" fmla="*/ 138342 w 742155"/>
                <a:gd name="connsiteY6" fmla="*/ 372481 h 744888"/>
                <a:gd name="connsiteX7" fmla="*/ 371078 w 742155"/>
                <a:gd name="connsiteY7" fmla="*/ 606104 h 744888"/>
                <a:gd name="connsiteX8" fmla="*/ 603814 w 742155"/>
                <a:gd name="connsiteY8" fmla="*/ 372481 h 744888"/>
                <a:gd name="connsiteX9" fmla="*/ 371078 w 742155"/>
                <a:gd name="connsiteY9" fmla="*/ 138859 h 744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2155" h="744888">
                  <a:moveTo>
                    <a:pt x="371078" y="744889"/>
                  </a:moveTo>
                  <a:cubicBezTo>
                    <a:pt x="166483" y="744889"/>
                    <a:pt x="0" y="577815"/>
                    <a:pt x="0" y="372407"/>
                  </a:cubicBezTo>
                  <a:cubicBezTo>
                    <a:pt x="0" y="167074"/>
                    <a:pt x="166483" y="0"/>
                    <a:pt x="371078" y="0"/>
                  </a:cubicBezTo>
                  <a:cubicBezTo>
                    <a:pt x="575673" y="0"/>
                    <a:pt x="742156" y="167074"/>
                    <a:pt x="742156" y="372407"/>
                  </a:cubicBezTo>
                  <a:cubicBezTo>
                    <a:pt x="742082" y="577815"/>
                    <a:pt x="575673" y="744889"/>
                    <a:pt x="371078" y="744889"/>
                  </a:cubicBezTo>
                  <a:close/>
                  <a:moveTo>
                    <a:pt x="371078" y="138859"/>
                  </a:moveTo>
                  <a:cubicBezTo>
                    <a:pt x="242707" y="138859"/>
                    <a:pt x="138342" y="243668"/>
                    <a:pt x="138342" y="372481"/>
                  </a:cubicBezTo>
                  <a:cubicBezTo>
                    <a:pt x="138342" y="501295"/>
                    <a:pt x="242781" y="606104"/>
                    <a:pt x="371078" y="606104"/>
                  </a:cubicBezTo>
                  <a:cubicBezTo>
                    <a:pt x="499375" y="606104"/>
                    <a:pt x="603814" y="501295"/>
                    <a:pt x="603814" y="372481"/>
                  </a:cubicBezTo>
                  <a:cubicBezTo>
                    <a:pt x="603814" y="243668"/>
                    <a:pt x="499375" y="138859"/>
                    <a:pt x="371078" y="138859"/>
                  </a:cubicBezTo>
                  <a:close/>
                </a:path>
              </a:pathLst>
            </a:custGeom>
            <a:solidFill>
              <a:srgbClr val="FFFFFF"/>
            </a:solidFill>
            <a:ln w="7386" cap="flat">
              <a:noFill/>
              <a:prstDash val="solid"/>
              <a:miter/>
            </a:ln>
          </p:spPr>
          <p:txBody>
            <a:bodyPr rtlCol="0" anchor="ctr"/>
            <a:lstStyle/>
            <a:p>
              <a:endParaRPr lang="es-ES"/>
            </a:p>
          </p:txBody>
        </p:sp>
        <p:sp>
          <p:nvSpPr>
            <p:cNvPr id="71" name="Forma libre: forma 70">
              <a:extLst>
                <a:ext uri="{FF2B5EF4-FFF2-40B4-BE49-F238E27FC236}">
                  <a16:creationId xmlns:a16="http://schemas.microsoft.com/office/drawing/2014/main" id="{A7FF40D8-A4EE-4988-9D5C-CB2238313DFF}"/>
                </a:ext>
              </a:extLst>
            </p:cNvPr>
            <p:cNvSpPr/>
            <p:nvPr/>
          </p:nvSpPr>
          <p:spPr>
            <a:xfrm>
              <a:off x="-3381775" y="1681969"/>
              <a:ext cx="742156" cy="744888"/>
            </a:xfrm>
            <a:custGeom>
              <a:avLst/>
              <a:gdLst>
                <a:gd name="connsiteX0" fmla="*/ 371078 w 742156"/>
                <a:gd name="connsiteY0" fmla="*/ 744889 h 744888"/>
                <a:gd name="connsiteX1" fmla="*/ 0 w 742156"/>
                <a:gd name="connsiteY1" fmla="*/ 372408 h 744888"/>
                <a:gd name="connsiteX2" fmla="*/ 371078 w 742156"/>
                <a:gd name="connsiteY2" fmla="*/ 0 h 744888"/>
                <a:gd name="connsiteX3" fmla="*/ 742156 w 742156"/>
                <a:gd name="connsiteY3" fmla="*/ 372408 h 744888"/>
                <a:gd name="connsiteX4" fmla="*/ 371078 w 742156"/>
                <a:gd name="connsiteY4" fmla="*/ 744889 h 744888"/>
                <a:gd name="connsiteX5" fmla="*/ 371078 w 742156"/>
                <a:gd name="connsiteY5" fmla="*/ 138859 h 744888"/>
                <a:gd name="connsiteX6" fmla="*/ 138342 w 742156"/>
                <a:gd name="connsiteY6" fmla="*/ 372481 h 744888"/>
                <a:gd name="connsiteX7" fmla="*/ 371078 w 742156"/>
                <a:gd name="connsiteY7" fmla="*/ 606104 h 744888"/>
                <a:gd name="connsiteX8" fmla="*/ 603814 w 742156"/>
                <a:gd name="connsiteY8" fmla="*/ 372481 h 744888"/>
                <a:gd name="connsiteX9" fmla="*/ 371078 w 742156"/>
                <a:gd name="connsiteY9" fmla="*/ 138859 h 744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2156" h="744888">
                  <a:moveTo>
                    <a:pt x="371078" y="744889"/>
                  </a:moveTo>
                  <a:cubicBezTo>
                    <a:pt x="166483" y="744889"/>
                    <a:pt x="0" y="577815"/>
                    <a:pt x="0" y="372408"/>
                  </a:cubicBezTo>
                  <a:cubicBezTo>
                    <a:pt x="0" y="167000"/>
                    <a:pt x="166409" y="0"/>
                    <a:pt x="371078" y="0"/>
                  </a:cubicBezTo>
                  <a:cubicBezTo>
                    <a:pt x="575673" y="0"/>
                    <a:pt x="742156" y="167074"/>
                    <a:pt x="742156" y="372408"/>
                  </a:cubicBezTo>
                  <a:cubicBezTo>
                    <a:pt x="742082" y="577815"/>
                    <a:pt x="575673" y="744889"/>
                    <a:pt x="371078" y="744889"/>
                  </a:cubicBezTo>
                  <a:close/>
                  <a:moveTo>
                    <a:pt x="371078" y="138859"/>
                  </a:moveTo>
                  <a:cubicBezTo>
                    <a:pt x="242781" y="138859"/>
                    <a:pt x="138342" y="243668"/>
                    <a:pt x="138342" y="372481"/>
                  </a:cubicBezTo>
                  <a:cubicBezTo>
                    <a:pt x="138342" y="501295"/>
                    <a:pt x="242781" y="606104"/>
                    <a:pt x="371078" y="606104"/>
                  </a:cubicBezTo>
                  <a:cubicBezTo>
                    <a:pt x="499375" y="606104"/>
                    <a:pt x="603814" y="501295"/>
                    <a:pt x="603814" y="372481"/>
                  </a:cubicBezTo>
                  <a:cubicBezTo>
                    <a:pt x="603814" y="243668"/>
                    <a:pt x="499375" y="138859"/>
                    <a:pt x="371078" y="138859"/>
                  </a:cubicBezTo>
                  <a:close/>
                </a:path>
              </a:pathLst>
            </a:custGeom>
            <a:solidFill>
              <a:srgbClr val="FFFFFF"/>
            </a:solidFill>
            <a:ln w="7386" cap="flat">
              <a:noFill/>
              <a:prstDash val="solid"/>
              <a:miter/>
            </a:ln>
          </p:spPr>
          <p:txBody>
            <a:bodyPr rtlCol="0" anchor="ctr"/>
            <a:lstStyle/>
            <a:p>
              <a:endParaRPr lang="es-ES"/>
            </a:p>
          </p:txBody>
        </p:sp>
        <p:sp>
          <p:nvSpPr>
            <p:cNvPr id="72" name="Forma libre: forma 71">
              <a:extLst>
                <a:ext uri="{FF2B5EF4-FFF2-40B4-BE49-F238E27FC236}">
                  <a16:creationId xmlns:a16="http://schemas.microsoft.com/office/drawing/2014/main" id="{BFD34EF1-FFE7-454E-8285-71038544E2AC}"/>
                </a:ext>
              </a:extLst>
            </p:cNvPr>
            <p:cNvSpPr/>
            <p:nvPr/>
          </p:nvSpPr>
          <p:spPr>
            <a:xfrm>
              <a:off x="-1112984" y="1681969"/>
              <a:ext cx="742155" cy="744888"/>
            </a:xfrm>
            <a:custGeom>
              <a:avLst/>
              <a:gdLst>
                <a:gd name="connsiteX0" fmla="*/ 371078 w 742155"/>
                <a:gd name="connsiteY0" fmla="*/ 744889 h 744888"/>
                <a:gd name="connsiteX1" fmla="*/ 0 w 742155"/>
                <a:gd name="connsiteY1" fmla="*/ 372408 h 744888"/>
                <a:gd name="connsiteX2" fmla="*/ 371078 w 742155"/>
                <a:gd name="connsiteY2" fmla="*/ 0 h 744888"/>
                <a:gd name="connsiteX3" fmla="*/ 742156 w 742155"/>
                <a:gd name="connsiteY3" fmla="*/ 372408 h 744888"/>
                <a:gd name="connsiteX4" fmla="*/ 371078 w 742155"/>
                <a:gd name="connsiteY4" fmla="*/ 744889 h 744888"/>
                <a:gd name="connsiteX5" fmla="*/ 371078 w 742155"/>
                <a:gd name="connsiteY5" fmla="*/ 138859 h 744888"/>
                <a:gd name="connsiteX6" fmla="*/ 138342 w 742155"/>
                <a:gd name="connsiteY6" fmla="*/ 372481 h 744888"/>
                <a:gd name="connsiteX7" fmla="*/ 371078 w 742155"/>
                <a:gd name="connsiteY7" fmla="*/ 606104 h 744888"/>
                <a:gd name="connsiteX8" fmla="*/ 603814 w 742155"/>
                <a:gd name="connsiteY8" fmla="*/ 372481 h 744888"/>
                <a:gd name="connsiteX9" fmla="*/ 371078 w 742155"/>
                <a:gd name="connsiteY9" fmla="*/ 138859 h 744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2155" h="744888">
                  <a:moveTo>
                    <a:pt x="371078" y="744889"/>
                  </a:moveTo>
                  <a:cubicBezTo>
                    <a:pt x="166482" y="744889"/>
                    <a:pt x="0" y="577815"/>
                    <a:pt x="0" y="372408"/>
                  </a:cubicBezTo>
                  <a:cubicBezTo>
                    <a:pt x="0" y="167000"/>
                    <a:pt x="166409" y="0"/>
                    <a:pt x="371078" y="0"/>
                  </a:cubicBezTo>
                  <a:cubicBezTo>
                    <a:pt x="575673" y="0"/>
                    <a:pt x="742156" y="167074"/>
                    <a:pt x="742156" y="372408"/>
                  </a:cubicBezTo>
                  <a:cubicBezTo>
                    <a:pt x="742156" y="577815"/>
                    <a:pt x="575673" y="744889"/>
                    <a:pt x="371078" y="744889"/>
                  </a:cubicBezTo>
                  <a:close/>
                  <a:moveTo>
                    <a:pt x="371078" y="138859"/>
                  </a:moveTo>
                  <a:cubicBezTo>
                    <a:pt x="242781" y="138859"/>
                    <a:pt x="138342" y="243668"/>
                    <a:pt x="138342" y="372481"/>
                  </a:cubicBezTo>
                  <a:cubicBezTo>
                    <a:pt x="138342" y="501295"/>
                    <a:pt x="242781" y="606104"/>
                    <a:pt x="371078" y="606104"/>
                  </a:cubicBezTo>
                  <a:cubicBezTo>
                    <a:pt x="499449" y="606104"/>
                    <a:pt x="603814" y="501295"/>
                    <a:pt x="603814" y="372481"/>
                  </a:cubicBezTo>
                  <a:cubicBezTo>
                    <a:pt x="603888" y="243668"/>
                    <a:pt x="499449" y="138859"/>
                    <a:pt x="371078" y="138859"/>
                  </a:cubicBezTo>
                  <a:close/>
                </a:path>
              </a:pathLst>
            </a:custGeom>
            <a:solidFill>
              <a:srgbClr val="FFFFFF"/>
            </a:solidFill>
            <a:ln w="7386" cap="flat">
              <a:noFill/>
              <a:prstDash val="solid"/>
              <a:miter/>
            </a:ln>
          </p:spPr>
          <p:txBody>
            <a:bodyPr rtlCol="0" anchor="ctr"/>
            <a:lstStyle/>
            <a:p>
              <a:endParaRPr lang="es-ES"/>
            </a:p>
          </p:txBody>
        </p:sp>
        <p:sp>
          <p:nvSpPr>
            <p:cNvPr id="73" name="Forma libre: forma 72">
              <a:extLst>
                <a:ext uri="{FF2B5EF4-FFF2-40B4-BE49-F238E27FC236}">
                  <a16:creationId xmlns:a16="http://schemas.microsoft.com/office/drawing/2014/main" id="{EA0AF840-440E-4628-8C76-EEEF97C534F8}"/>
                </a:ext>
              </a:extLst>
            </p:cNvPr>
            <p:cNvSpPr/>
            <p:nvPr/>
          </p:nvSpPr>
          <p:spPr>
            <a:xfrm>
              <a:off x="-588423" y="2750369"/>
              <a:ext cx="742155" cy="744962"/>
            </a:xfrm>
            <a:custGeom>
              <a:avLst/>
              <a:gdLst>
                <a:gd name="connsiteX0" fmla="*/ 371078 w 742155"/>
                <a:gd name="connsiteY0" fmla="*/ 744963 h 744962"/>
                <a:gd name="connsiteX1" fmla="*/ 0 w 742155"/>
                <a:gd name="connsiteY1" fmla="*/ 372481 h 744962"/>
                <a:gd name="connsiteX2" fmla="*/ 371078 w 742155"/>
                <a:gd name="connsiteY2" fmla="*/ 0 h 744962"/>
                <a:gd name="connsiteX3" fmla="*/ 742156 w 742155"/>
                <a:gd name="connsiteY3" fmla="*/ 372481 h 744962"/>
                <a:gd name="connsiteX4" fmla="*/ 371078 w 742155"/>
                <a:gd name="connsiteY4" fmla="*/ 744963 h 744962"/>
                <a:gd name="connsiteX5" fmla="*/ 371078 w 742155"/>
                <a:gd name="connsiteY5" fmla="*/ 138933 h 744962"/>
                <a:gd name="connsiteX6" fmla="*/ 138342 w 742155"/>
                <a:gd name="connsiteY6" fmla="*/ 372555 h 744962"/>
                <a:gd name="connsiteX7" fmla="*/ 371078 w 742155"/>
                <a:gd name="connsiteY7" fmla="*/ 606178 h 744962"/>
                <a:gd name="connsiteX8" fmla="*/ 603814 w 742155"/>
                <a:gd name="connsiteY8" fmla="*/ 372555 h 744962"/>
                <a:gd name="connsiteX9" fmla="*/ 371078 w 742155"/>
                <a:gd name="connsiteY9" fmla="*/ 138933 h 744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2155" h="744962">
                  <a:moveTo>
                    <a:pt x="371078" y="744963"/>
                  </a:moveTo>
                  <a:cubicBezTo>
                    <a:pt x="166482" y="744963"/>
                    <a:pt x="0" y="577889"/>
                    <a:pt x="0" y="372481"/>
                  </a:cubicBezTo>
                  <a:cubicBezTo>
                    <a:pt x="0" y="167074"/>
                    <a:pt x="166408" y="0"/>
                    <a:pt x="371078" y="0"/>
                  </a:cubicBezTo>
                  <a:cubicBezTo>
                    <a:pt x="575673" y="0"/>
                    <a:pt x="742156" y="167074"/>
                    <a:pt x="742156" y="372481"/>
                  </a:cubicBezTo>
                  <a:cubicBezTo>
                    <a:pt x="742156" y="577889"/>
                    <a:pt x="575747" y="744963"/>
                    <a:pt x="371078" y="744963"/>
                  </a:cubicBezTo>
                  <a:close/>
                  <a:moveTo>
                    <a:pt x="371078" y="138933"/>
                  </a:moveTo>
                  <a:cubicBezTo>
                    <a:pt x="242781" y="138933"/>
                    <a:pt x="138342" y="243742"/>
                    <a:pt x="138342" y="372555"/>
                  </a:cubicBezTo>
                  <a:cubicBezTo>
                    <a:pt x="138342" y="501369"/>
                    <a:pt x="242781" y="606178"/>
                    <a:pt x="371078" y="606178"/>
                  </a:cubicBezTo>
                  <a:cubicBezTo>
                    <a:pt x="499449" y="606178"/>
                    <a:pt x="603814" y="501369"/>
                    <a:pt x="603814" y="372555"/>
                  </a:cubicBezTo>
                  <a:cubicBezTo>
                    <a:pt x="603888" y="243742"/>
                    <a:pt x="499449" y="138933"/>
                    <a:pt x="371078" y="138933"/>
                  </a:cubicBezTo>
                  <a:close/>
                </a:path>
              </a:pathLst>
            </a:custGeom>
            <a:solidFill>
              <a:srgbClr val="FFFFFF"/>
            </a:solidFill>
            <a:ln w="7386" cap="flat">
              <a:noFill/>
              <a:prstDash val="solid"/>
              <a:miter/>
            </a:ln>
          </p:spPr>
          <p:txBody>
            <a:bodyPr rtlCol="0" anchor="ctr"/>
            <a:lstStyle/>
            <a:p>
              <a:endParaRPr lang="es-ES"/>
            </a:p>
          </p:txBody>
        </p:sp>
        <p:sp>
          <p:nvSpPr>
            <p:cNvPr id="74" name="Forma libre: forma 73">
              <a:extLst>
                <a:ext uri="{FF2B5EF4-FFF2-40B4-BE49-F238E27FC236}">
                  <a16:creationId xmlns:a16="http://schemas.microsoft.com/office/drawing/2014/main" id="{245F7350-BA20-45DB-9240-C5990B1E52B6}"/>
                </a:ext>
              </a:extLst>
            </p:cNvPr>
            <p:cNvSpPr/>
            <p:nvPr/>
          </p:nvSpPr>
          <p:spPr>
            <a:xfrm>
              <a:off x="-3906336" y="2750369"/>
              <a:ext cx="742155" cy="744962"/>
            </a:xfrm>
            <a:custGeom>
              <a:avLst/>
              <a:gdLst>
                <a:gd name="connsiteX0" fmla="*/ 371078 w 742155"/>
                <a:gd name="connsiteY0" fmla="*/ 744963 h 744962"/>
                <a:gd name="connsiteX1" fmla="*/ 0 w 742155"/>
                <a:gd name="connsiteY1" fmla="*/ 372481 h 744962"/>
                <a:gd name="connsiteX2" fmla="*/ 371078 w 742155"/>
                <a:gd name="connsiteY2" fmla="*/ 0 h 744962"/>
                <a:gd name="connsiteX3" fmla="*/ 742156 w 742155"/>
                <a:gd name="connsiteY3" fmla="*/ 372481 h 744962"/>
                <a:gd name="connsiteX4" fmla="*/ 371078 w 742155"/>
                <a:gd name="connsiteY4" fmla="*/ 744963 h 744962"/>
                <a:gd name="connsiteX5" fmla="*/ 371078 w 742155"/>
                <a:gd name="connsiteY5" fmla="*/ 138933 h 744962"/>
                <a:gd name="connsiteX6" fmla="*/ 138342 w 742155"/>
                <a:gd name="connsiteY6" fmla="*/ 372555 h 744962"/>
                <a:gd name="connsiteX7" fmla="*/ 371078 w 742155"/>
                <a:gd name="connsiteY7" fmla="*/ 606178 h 744962"/>
                <a:gd name="connsiteX8" fmla="*/ 603814 w 742155"/>
                <a:gd name="connsiteY8" fmla="*/ 372555 h 744962"/>
                <a:gd name="connsiteX9" fmla="*/ 371078 w 742155"/>
                <a:gd name="connsiteY9" fmla="*/ 138933 h 744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2155" h="744962">
                  <a:moveTo>
                    <a:pt x="371078" y="744963"/>
                  </a:moveTo>
                  <a:cubicBezTo>
                    <a:pt x="166483" y="744963"/>
                    <a:pt x="0" y="577889"/>
                    <a:pt x="0" y="372481"/>
                  </a:cubicBezTo>
                  <a:cubicBezTo>
                    <a:pt x="0" y="167074"/>
                    <a:pt x="166409" y="0"/>
                    <a:pt x="371078" y="0"/>
                  </a:cubicBezTo>
                  <a:cubicBezTo>
                    <a:pt x="575673" y="0"/>
                    <a:pt x="742156" y="167074"/>
                    <a:pt x="742156" y="372481"/>
                  </a:cubicBezTo>
                  <a:cubicBezTo>
                    <a:pt x="742082" y="577889"/>
                    <a:pt x="575673" y="744963"/>
                    <a:pt x="371078" y="744963"/>
                  </a:cubicBezTo>
                  <a:close/>
                  <a:moveTo>
                    <a:pt x="371078" y="138933"/>
                  </a:moveTo>
                  <a:cubicBezTo>
                    <a:pt x="242781" y="138933"/>
                    <a:pt x="138342" y="243742"/>
                    <a:pt x="138342" y="372555"/>
                  </a:cubicBezTo>
                  <a:cubicBezTo>
                    <a:pt x="138342" y="501369"/>
                    <a:pt x="242781" y="606178"/>
                    <a:pt x="371078" y="606178"/>
                  </a:cubicBezTo>
                  <a:cubicBezTo>
                    <a:pt x="499375" y="606178"/>
                    <a:pt x="603814" y="501369"/>
                    <a:pt x="603814" y="372555"/>
                  </a:cubicBezTo>
                  <a:cubicBezTo>
                    <a:pt x="603814" y="243742"/>
                    <a:pt x="499375" y="138933"/>
                    <a:pt x="371078" y="138933"/>
                  </a:cubicBezTo>
                  <a:close/>
                </a:path>
              </a:pathLst>
            </a:custGeom>
            <a:solidFill>
              <a:srgbClr val="FFFFFF"/>
            </a:solidFill>
            <a:ln w="7386" cap="flat">
              <a:noFill/>
              <a:prstDash val="solid"/>
              <a:miter/>
            </a:ln>
          </p:spPr>
          <p:txBody>
            <a:bodyPr rtlCol="0" anchor="ctr"/>
            <a:lstStyle/>
            <a:p>
              <a:endParaRPr lang="es-ES"/>
            </a:p>
          </p:txBody>
        </p:sp>
        <p:sp>
          <p:nvSpPr>
            <p:cNvPr id="75" name="Forma libre: forma 74">
              <a:extLst>
                <a:ext uri="{FF2B5EF4-FFF2-40B4-BE49-F238E27FC236}">
                  <a16:creationId xmlns:a16="http://schemas.microsoft.com/office/drawing/2014/main" id="{7490F5E3-849D-4D3B-A179-1E28FDD6AA77}"/>
                </a:ext>
              </a:extLst>
            </p:cNvPr>
            <p:cNvSpPr/>
            <p:nvPr/>
          </p:nvSpPr>
          <p:spPr>
            <a:xfrm>
              <a:off x="-3531590" y="1568535"/>
              <a:ext cx="3310797" cy="2421223"/>
            </a:xfrm>
            <a:custGeom>
              <a:avLst/>
              <a:gdLst>
                <a:gd name="connsiteX0" fmla="*/ 3091628 w 3310797"/>
                <a:gd name="connsiteY0" fmla="*/ 2421223 h 2421223"/>
                <a:gd name="connsiteX1" fmla="*/ 3061198 w 3310797"/>
                <a:gd name="connsiteY1" fmla="*/ 2414133 h 2421223"/>
                <a:gd name="connsiteX2" fmla="*/ 3029511 w 3310797"/>
                <a:gd name="connsiteY2" fmla="*/ 2321216 h 2421223"/>
                <a:gd name="connsiteX3" fmla="*/ 3164898 w 3310797"/>
                <a:gd name="connsiteY3" fmla="*/ 1895111 h 2421223"/>
                <a:gd name="connsiteX4" fmla="*/ 2943242 w 3310797"/>
                <a:gd name="connsiteY4" fmla="*/ 1554390 h 2421223"/>
                <a:gd name="connsiteX5" fmla="*/ 3128855 w 3310797"/>
                <a:gd name="connsiteY5" fmla="*/ 1232208 h 2421223"/>
                <a:gd name="connsiteX6" fmla="*/ 2947082 w 3310797"/>
                <a:gd name="connsiteY6" fmla="*/ 823092 h 2421223"/>
                <a:gd name="connsiteX7" fmla="*/ 2789758 w 3310797"/>
                <a:gd name="connsiteY7" fmla="*/ 858397 h 2421223"/>
                <a:gd name="connsiteX8" fmla="*/ 2418680 w 3310797"/>
                <a:gd name="connsiteY8" fmla="*/ 485916 h 2421223"/>
                <a:gd name="connsiteX9" fmla="*/ 2451032 w 3310797"/>
                <a:gd name="connsiteY9" fmla="*/ 334057 h 2421223"/>
                <a:gd name="connsiteX10" fmla="*/ 2009638 w 3310797"/>
                <a:gd name="connsiteY10" fmla="*/ 151916 h 2421223"/>
                <a:gd name="connsiteX11" fmla="*/ 1655400 w 3310797"/>
                <a:gd name="connsiteY11" fmla="*/ 413237 h 2421223"/>
                <a:gd name="connsiteX12" fmla="*/ 1301088 w 3310797"/>
                <a:gd name="connsiteY12" fmla="*/ 151916 h 2421223"/>
                <a:gd name="connsiteX13" fmla="*/ 859695 w 3310797"/>
                <a:gd name="connsiteY13" fmla="*/ 334057 h 2421223"/>
                <a:gd name="connsiteX14" fmla="*/ 892045 w 3310797"/>
                <a:gd name="connsiteY14" fmla="*/ 485916 h 2421223"/>
                <a:gd name="connsiteX15" fmla="*/ 520967 w 3310797"/>
                <a:gd name="connsiteY15" fmla="*/ 858397 h 2421223"/>
                <a:gd name="connsiteX16" fmla="*/ 363643 w 3310797"/>
                <a:gd name="connsiteY16" fmla="*/ 823092 h 2421223"/>
                <a:gd name="connsiteX17" fmla="*/ 181871 w 3310797"/>
                <a:gd name="connsiteY17" fmla="*/ 1232134 h 2421223"/>
                <a:gd name="connsiteX18" fmla="*/ 367484 w 3310797"/>
                <a:gd name="connsiteY18" fmla="*/ 1554316 h 2421223"/>
                <a:gd name="connsiteX19" fmla="*/ 145827 w 3310797"/>
                <a:gd name="connsiteY19" fmla="*/ 1895037 h 2421223"/>
                <a:gd name="connsiteX20" fmla="*/ 281141 w 3310797"/>
                <a:gd name="connsiteY20" fmla="*/ 2321142 h 2421223"/>
                <a:gd name="connsiteX21" fmla="*/ 249454 w 3310797"/>
                <a:gd name="connsiteY21" fmla="*/ 2414059 h 2421223"/>
                <a:gd name="connsiteX22" fmla="*/ 156906 w 3310797"/>
                <a:gd name="connsiteY22" fmla="*/ 2382299 h 2421223"/>
                <a:gd name="connsiteX23" fmla="*/ 543 w 3310797"/>
                <a:gd name="connsiteY23" fmla="*/ 1856777 h 2421223"/>
                <a:gd name="connsiteX24" fmla="*/ 52541 w 3310797"/>
                <a:gd name="connsiteY24" fmla="*/ 1780774 h 2421223"/>
                <a:gd name="connsiteX25" fmla="*/ 229142 w 3310797"/>
                <a:gd name="connsiteY25" fmla="*/ 1554390 h 2421223"/>
                <a:gd name="connsiteX26" fmla="*/ 76693 w 3310797"/>
                <a:gd name="connsiteY26" fmla="*/ 1335392 h 2421223"/>
                <a:gd name="connsiteX27" fmla="*/ 33337 w 3310797"/>
                <a:gd name="connsiteY27" fmla="*/ 1254071 h 2421223"/>
                <a:gd name="connsiteX28" fmla="*/ 285646 w 3310797"/>
                <a:gd name="connsiteY28" fmla="*/ 690216 h 2421223"/>
                <a:gd name="connsiteX29" fmla="*/ 331145 w 3310797"/>
                <a:gd name="connsiteY29" fmla="*/ 661410 h 2421223"/>
                <a:gd name="connsiteX30" fmla="*/ 383438 w 3310797"/>
                <a:gd name="connsiteY30" fmla="*/ 673966 h 2421223"/>
                <a:gd name="connsiteX31" fmla="*/ 520967 w 3310797"/>
                <a:gd name="connsiteY31" fmla="*/ 719538 h 2421223"/>
                <a:gd name="connsiteX32" fmla="*/ 753704 w 3310797"/>
                <a:gd name="connsiteY32" fmla="*/ 485916 h 2421223"/>
                <a:gd name="connsiteX33" fmla="*/ 710790 w 3310797"/>
                <a:gd name="connsiteY33" fmla="*/ 351193 h 2421223"/>
                <a:gd name="connsiteX34" fmla="*/ 699194 w 3310797"/>
                <a:gd name="connsiteY34" fmla="*/ 298456 h 2421223"/>
                <a:gd name="connsiteX35" fmla="*/ 728739 w 3310797"/>
                <a:gd name="connsiteY35" fmla="*/ 253327 h 2421223"/>
                <a:gd name="connsiteX36" fmla="*/ 1342007 w 3310797"/>
                <a:gd name="connsiteY36" fmla="*/ 1240 h 2421223"/>
                <a:gd name="connsiteX37" fmla="*/ 1396443 w 3310797"/>
                <a:gd name="connsiteY37" fmla="*/ 13944 h 2421223"/>
                <a:gd name="connsiteX38" fmla="*/ 1423772 w 3310797"/>
                <a:gd name="connsiteY38" fmla="*/ 62913 h 2421223"/>
                <a:gd name="connsiteX39" fmla="*/ 1655400 w 3310797"/>
                <a:gd name="connsiteY39" fmla="*/ 274304 h 2421223"/>
                <a:gd name="connsiteX40" fmla="*/ 1886954 w 3310797"/>
                <a:gd name="connsiteY40" fmla="*/ 62913 h 2421223"/>
                <a:gd name="connsiteX41" fmla="*/ 1914283 w 3310797"/>
                <a:gd name="connsiteY41" fmla="*/ 13944 h 2421223"/>
                <a:gd name="connsiteX42" fmla="*/ 1968718 w 3310797"/>
                <a:gd name="connsiteY42" fmla="*/ 1240 h 2421223"/>
                <a:gd name="connsiteX43" fmla="*/ 2581987 w 3310797"/>
                <a:gd name="connsiteY43" fmla="*/ 253327 h 2421223"/>
                <a:gd name="connsiteX44" fmla="*/ 2611531 w 3310797"/>
                <a:gd name="connsiteY44" fmla="*/ 298456 h 2421223"/>
                <a:gd name="connsiteX45" fmla="*/ 2599935 w 3310797"/>
                <a:gd name="connsiteY45" fmla="*/ 351193 h 2421223"/>
                <a:gd name="connsiteX46" fmla="*/ 2557022 w 3310797"/>
                <a:gd name="connsiteY46" fmla="*/ 485916 h 2421223"/>
                <a:gd name="connsiteX47" fmla="*/ 2789758 w 3310797"/>
                <a:gd name="connsiteY47" fmla="*/ 719538 h 2421223"/>
                <a:gd name="connsiteX48" fmla="*/ 2927361 w 3310797"/>
                <a:gd name="connsiteY48" fmla="*/ 673966 h 2421223"/>
                <a:gd name="connsiteX49" fmla="*/ 2979655 w 3310797"/>
                <a:gd name="connsiteY49" fmla="*/ 661410 h 2421223"/>
                <a:gd name="connsiteX50" fmla="*/ 3025153 w 3310797"/>
                <a:gd name="connsiteY50" fmla="*/ 690216 h 2421223"/>
                <a:gd name="connsiteX51" fmla="*/ 3277463 w 3310797"/>
                <a:gd name="connsiteY51" fmla="*/ 1254071 h 2421223"/>
                <a:gd name="connsiteX52" fmla="*/ 3234107 w 3310797"/>
                <a:gd name="connsiteY52" fmla="*/ 1335392 h 2421223"/>
                <a:gd name="connsiteX53" fmla="*/ 3081657 w 3310797"/>
                <a:gd name="connsiteY53" fmla="*/ 1554390 h 2421223"/>
                <a:gd name="connsiteX54" fmla="*/ 3258258 w 3310797"/>
                <a:gd name="connsiteY54" fmla="*/ 1780774 h 2421223"/>
                <a:gd name="connsiteX55" fmla="*/ 3310257 w 3310797"/>
                <a:gd name="connsiteY55" fmla="*/ 1856777 h 2421223"/>
                <a:gd name="connsiteX56" fmla="*/ 3153893 w 3310797"/>
                <a:gd name="connsiteY56" fmla="*/ 2382299 h 2421223"/>
                <a:gd name="connsiteX57" fmla="*/ 3091628 w 3310797"/>
                <a:gd name="connsiteY57" fmla="*/ 2421223 h 242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310797" h="2421223">
                  <a:moveTo>
                    <a:pt x="3091628" y="2421223"/>
                  </a:moveTo>
                  <a:cubicBezTo>
                    <a:pt x="3081436" y="2421223"/>
                    <a:pt x="3071021" y="2418934"/>
                    <a:pt x="3061198" y="2414133"/>
                  </a:cubicBezTo>
                  <a:cubicBezTo>
                    <a:pt x="3026926" y="2397219"/>
                    <a:pt x="3012744" y="2355709"/>
                    <a:pt x="3029511" y="2321216"/>
                  </a:cubicBezTo>
                  <a:cubicBezTo>
                    <a:pt x="3095395" y="2186271"/>
                    <a:pt x="3140893" y="2043203"/>
                    <a:pt x="3164898" y="1895111"/>
                  </a:cubicBezTo>
                  <a:cubicBezTo>
                    <a:pt x="3031801" y="1836613"/>
                    <a:pt x="2943242" y="1704254"/>
                    <a:pt x="2943242" y="1554390"/>
                  </a:cubicBezTo>
                  <a:cubicBezTo>
                    <a:pt x="2943242" y="1420628"/>
                    <a:pt x="3015773" y="1297944"/>
                    <a:pt x="3128855" y="1232208"/>
                  </a:cubicBezTo>
                  <a:cubicBezTo>
                    <a:pt x="3088600" y="1087293"/>
                    <a:pt x="3027664" y="950206"/>
                    <a:pt x="2947082" y="823092"/>
                  </a:cubicBezTo>
                  <a:cubicBezTo>
                    <a:pt x="2898112" y="846358"/>
                    <a:pt x="2844710" y="858397"/>
                    <a:pt x="2789758" y="858397"/>
                  </a:cubicBezTo>
                  <a:cubicBezTo>
                    <a:pt x="2585163" y="858397"/>
                    <a:pt x="2418680" y="691323"/>
                    <a:pt x="2418680" y="485916"/>
                  </a:cubicBezTo>
                  <a:cubicBezTo>
                    <a:pt x="2418680" y="433105"/>
                    <a:pt x="2429759" y="381550"/>
                    <a:pt x="2451032" y="334057"/>
                  </a:cubicBezTo>
                  <a:cubicBezTo>
                    <a:pt x="2313945" y="250077"/>
                    <a:pt x="2166001" y="188994"/>
                    <a:pt x="2009638" y="151916"/>
                  </a:cubicBezTo>
                  <a:cubicBezTo>
                    <a:pt x="1962588" y="305178"/>
                    <a:pt x="1821587" y="413237"/>
                    <a:pt x="1655400" y="413237"/>
                  </a:cubicBezTo>
                  <a:cubicBezTo>
                    <a:pt x="1489212" y="413237"/>
                    <a:pt x="1348137" y="305178"/>
                    <a:pt x="1301088" y="151916"/>
                  </a:cubicBezTo>
                  <a:cubicBezTo>
                    <a:pt x="1144724" y="188994"/>
                    <a:pt x="996707" y="250077"/>
                    <a:pt x="859695" y="334057"/>
                  </a:cubicBezTo>
                  <a:cubicBezTo>
                    <a:pt x="880966" y="381550"/>
                    <a:pt x="892045" y="433031"/>
                    <a:pt x="892045" y="485916"/>
                  </a:cubicBezTo>
                  <a:cubicBezTo>
                    <a:pt x="892045" y="691323"/>
                    <a:pt x="725563" y="858397"/>
                    <a:pt x="520967" y="858397"/>
                  </a:cubicBezTo>
                  <a:cubicBezTo>
                    <a:pt x="465941" y="858397"/>
                    <a:pt x="412613" y="846358"/>
                    <a:pt x="363643" y="823092"/>
                  </a:cubicBezTo>
                  <a:cubicBezTo>
                    <a:pt x="283061" y="950133"/>
                    <a:pt x="222126" y="1087293"/>
                    <a:pt x="181871" y="1232134"/>
                  </a:cubicBezTo>
                  <a:cubicBezTo>
                    <a:pt x="294953" y="1297944"/>
                    <a:pt x="367484" y="1420628"/>
                    <a:pt x="367484" y="1554316"/>
                  </a:cubicBezTo>
                  <a:cubicBezTo>
                    <a:pt x="367484" y="1704180"/>
                    <a:pt x="278925" y="1836539"/>
                    <a:pt x="145827" y="1895037"/>
                  </a:cubicBezTo>
                  <a:cubicBezTo>
                    <a:pt x="169906" y="2043129"/>
                    <a:pt x="215257" y="2186198"/>
                    <a:pt x="281141" y="2321142"/>
                  </a:cubicBezTo>
                  <a:cubicBezTo>
                    <a:pt x="297907" y="2355561"/>
                    <a:pt x="283726" y="2397145"/>
                    <a:pt x="249454" y="2414059"/>
                  </a:cubicBezTo>
                  <a:cubicBezTo>
                    <a:pt x="215109" y="2430899"/>
                    <a:pt x="173746" y="2416718"/>
                    <a:pt x="156906" y="2382299"/>
                  </a:cubicBezTo>
                  <a:cubicBezTo>
                    <a:pt x="76102" y="2216776"/>
                    <a:pt x="23513" y="2039953"/>
                    <a:pt x="543" y="1856777"/>
                  </a:cubicBezTo>
                  <a:cubicBezTo>
                    <a:pt x="-3815" y="1821915"/>
                    <a:pt x="18491" y="1789194"/>
                    <a:pt x="52541" y="1780774"/>
                  </a:cubicBezTo>
                  <a:cubicBezTo>
                    <a:pt x="156537" y="1754923"/>
                    <a:pt x="229142" y="1661784"/>
                    <a:pt x="229142" y="1554390"/>
                  </a:cubicBezTo>
                  <a:cubicBezTo>
                    <a:pt x="229142" y="1457115"/>
                    <a:pt x="167912" y="1369146"/>
                    <a:pt x="76693" y="1335392"/>
                  </a:cubicBezTo>
                  <a:cubicBezTo>
                    <a:pt x="43825" y="1323205"/>
                    <a:pt x="25138" y="1288269"/>
                    <a:pt x="33337" y="1254071"/>
                  </a:cubicBezTo>
                  <a:cubicBezTo>
                    <a:pt x="81790" y="1051322"/>
                    <a:pt x="166656" y="861647"/>
                    <a:pt x="285646" y="690216"/>
                  </a:cubicBezTo>
                  <a:cubicBezTo>
                    <a:pt x="296282" y="674852"/>
                    <a:pt x="312753" y="664438"/>
                    <a:pt x="331145" y="661410"/>
                  </a:cubicBezTo>
                  <a:cubicBezTo>
                    <a:pt x="349462" y="658308"/>
                    <a:pt x="368445" y="662887"/>
                    <a:pt x="383438" y="673966"/>
                  </a:cubicBezTo>
                  <a:cubicBezTo>
                    <a:pt x="423840" y="703806"/>
                    <a:pt x="471407" y="719538"/>
                    <a:pt x="520967" y="719538"/>
                  </a:cubicBezTo>
                  <a:cubicBezTo>
                    <a:pt x="649264" y="719538"/>
                    <a:pt x="753704" y="614730"/>
                    <a:pt x="753704" y="485916"/>
                  </a:cubicBezTo>
                  <a:cubicBezTo>
                    <a:pt x="753704" y="437537"/>
                    <a:pt x="738858" y="390930"/>
                    <a:pt x="710790" y="351193"/>
                  </a:cubicBezTo>
                  <a:cubicBezTo>
                    <a:pt x="700007" y="335904"/>
                    <a:pt x="695797" y="316922"/>
                    <a:pt x="699194" y="298456"/>
                  </a:cubicBezTo>
                  <a:cubicBezTo>
                    <a:pt x="702592" y="280065"/>
                    <a:pt x="713228" y="263742"/>
                    <a:pt x="728739" y="253327"/>
                  </a:cubicBezTo>
                  <a:cubicBezTo>
                    <a:pt x="915164" y="128133"/>
                    <a:pt x="1121458" y="43340"/>
                    <a:pt x="1342007" y="1240"/>
                  </a:cubicBezTo>
                  <a:cubicBezTo>
                    <a:pt x="1361137" y="-2454"/>
                    <a:pt x="1380932" y="2200"/>
                    <a:pt x="1396443" y="13944"/>
                  </a:cubicBezTo>
                  <a:cubicBezTo>
                    <a:pt x="1412027" y="25688"/>
                    <a:pt x="1421925" y="43488"/>
                    <a:pt x="1423772" y="62913"/>
                  </a:cubicBezTo>
                  <a:cubicBezTo>
                    <a:pt x="1434998" y="183455"/>
                    <a:pt x="1534637" y="274304"/>
                    <a:pt x="1655400" y="274304"/>
                  </a:cubicBezTo>
                  <a:cubicBezTo>
                    <a:pt x="1776162" y="274304"/>
                    <a:pt x="1875727" y="183381"/>
                    <a:pt x="1886954" y="62913"/>
                  </a:cubicBezTo>
                  <a:cubicBezTo>
                    <a:pt x="1888801" y="43414"/>
                    <a:pt x="1898698" y="25614"/>
                    <a:pt x="1914283" y="13944"/>
                  </a:cubicBezTo>
                  <a:cubicBezTo>
                    <a:pt x="1929867" y="2200"/>
                    <a:pt x="1949589" y="-2454"/>
                    <a:pt x="1968718" y="1240"/>
                  </a:cubicBezTo>
                  <a:cubicBezTo>
                    <a:pt x="2189267" y="43340"/>
                    <a:pt x="2395562" y="128207"/>
                    <a:pt x="2581987" y="253327"/>
                  </a:cubicBezTo>
                  <a:cubicBezTo>
                    <a:pt x="2597498" y="263742"/>
                    <a:pt x="2608134" y="280065"/>
                    <a:pt x="2611531" y="298456"/>
                  </a:cubicBezTo>
                  <a:cubicBezTo>
                    <a:pt x="2614929" y="316848"/>
                    <a:pt x="2610719" y="335904"/>
                    <a:pt x="2599935" y="351193"/>
                  </a:cubicBezTo>
                  <a:cubicBezTo>
                    <a:pt x="2571868" y="390930"/>
                    <a:pt x="2557022" y="437537"/>
                    <a:pt x="2557022" y="485916"/>
                  </a:cubicBezTo>
                  <a:cubicBezTo>
                    <a:pt x="2557022" y="614730"/>
                    <a:pt x="2661462" y="719538"/>
                    <a:pt x="2789758" y="719538"/>
                  </a:cubicBezTo>
                  <a:cubicBezTo>
                    <a:pt x="2839393" y="719538"/>
                    <a:pt x="2886960" y="703806"/>
                    <a:pt x="2927361" y="673966"/>
                  </a:cubicBezTo>
                  <a:cubicBezTo>
                    <a:pt x="2942428" y="662813"/>
                    <a:pt x="2961189" y="658308"/>
                    <a:pt x="2979655" y="661410"/>
                  </a:cubicBezTo>
                  <a:cubicBezTo>
                    <a:pt x="2998046" y="664512"/>
                    <a:pt x="3014443" y="674852"/>
                    <a:pt x="3025153" y="690216"/>
                  </a:cubicBezTo>
                  <a:cubicBezTo>
                    <a:pt x="3144070" y="861647"/>
                    <a:pt x="3229010" y="1051322"/>
                    <a:pt x="3277463" y="1254071"/>
                  </a:cubicBezTo>
                  <a:cubicBezTo>
                    <a:pt x="3285662" y="1288269"/>
                    <a:pt x="3267048" y="1323205"/>
                    <a:pt x="3234107" y="1335392"/>
                  </a:cubicBezTo>
                  <a:cubicBezTo>
                    <a:pt x="3142961" y="1369073"/>
                    <a:pt x="3081657" y="1457115"/>
                    <a:pt x="3081657" y="1554390"/>
                  </a:cubicBezTo>
                  <a:cubicBezTo>
                    <a:pt x="3081657" y="1661784"/>
                    <a:pt x="3154262" y="1754923"/>
                    <a:pt x="3258258" y="1780774"/>
                  </a:cubicBezTo>
                  <a:cubicBezTo>
                    <a:pt x="3292235" y="1789194"/>
                    <a:pt x="3314615" y="1821915"/>
                    <a:pt x="3310257" y="1856777"/>
                  </a:cubicBezTo>
                  <a:cubicBezTo>
                    <a:pt x="3287286" y="2039953"/>
                    <a:pt x="3234697" y="2216776"/>
                    <a:pt x="3153893" y="2382299"/>
                  </a:cubicBezTo>
                  <a:cubicBezTo>
                    <a:pt x="3141706" y="2406968"/>
                    <a:pt x="3117184" y="2421223"/>
                    <a:pt x="3091628" y="2421223"/>
                  </a:cubicBezTo>
                  <a:close/>
                </a:path>
              </a:pathLst>
            </a:custGeom>
            <a:solidFill>
              <a:srgbClr val="FFFFFF"/>
            </a:solidFill>
            <a:ln w="7386" cap="flat">
              <a:noFill/>
              <a:prstDash val="solid"/>
              <a:miter/>
            </a:ln>
          </p:spPr>
          <p:txBody>
            <a:bodyPr rtlCol="0" anchor="ctr"/>
            <a:lstStyle/>
            <a:p>
              <a:endParaRPr lang="es-ES"/>
            </a:p>
          </p:txBody>
        </p:sp>
      </p:grpSp>
    </p:spTree>
    <p:extLst>
      <p:ext uri="{BB962C8B-B14F-4D97-AF65-F5344CB8AC3E}">
        <p14:creationId xmlns:p14="http://schemas.microsoft.com/office/powerpoint/2010/main" val="42732029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zWpHxhW1g7IzdtHS1uQ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zWpHxhW1g7IzdtHS1uQt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zWpHxhW1g7IzdtHS1uQ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zWpHxhW1g7IzdtHS1uQ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zWpHxhW1g7IzdtHS1uQ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Xlff.M44OqM.AMO.ppAh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Xlff.M44OqM.AMO.ppAh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azWpHxhW1g7IzdtHS1uQ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zWpHxhW1g7IzdtHS1uQt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zWpHxhW1g7IzdtHS1uQt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SuPhfEyCMPN_AG3nI5Bq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QlW5yyslb6Mg8cDS3ldO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uPhfEyCMPN_AG3nI5Bq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uPhfEyCMPN_AG3nI5Bq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SuPhfEyCMPN_AG3nI5Bq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DGTDAJ">
      <a:dk1>
        <a:srgbClr val="323C47"/>
      </a:dk1>
      <a:lt1>
        <a:srgbClr val="FFFFFF"/>
      </a:lt1>
      <a:dk2>
        <a:srgbClr val="074E8E"/>
      </a:dk2>
      <a:lt2>
        <a:srgbClr val="E3F1FD"/>
      </a:lt2>
      <a:accent1>
        <a:srgbClr val="FFC400"/>
      </a:accent1>
      <a:accent2>
        <a:srgbClr val="0B6B0D"/>
      </a:accent2>
      <a:accent3>
        <a:srgbClr val="137ADB"/>
      </a:accent3>
      <a:accent4>
        <a:srgbClr val="F05C1D"/>
      </a:accent4>
      <a:accent5>
        <a:srgbClr val="F90C27"/>
      </a:accent5>
      <a:accent6>
        <a:srgbClr val="00B050"/>
      </a:accent6>
      <a:hlink>
        <a:srgbClr val="137ADB"/>
      </a:hlink>
      <a:folHlink>
        <a:srgbClr val="F2F2F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ema de Office">
  <a:themeElements>
    <a:clrScheme name="DGTDAJ">
      <a:dk1>
        <a:srgbClr val="323C47"/>
      </a:dk1>
      <a:lt1>
        <a:srgbClr val="FFFFFF"/>
      </a:lt1>
      <a:dk2>
        <a:srgbClr val="074E8E"/>
      </a:dk2>
      <a:lt2>
        <a:srgbClr val="E3F1FD"/>
      </a:lt2>
      <a:accent1>
        <a:srgbClr val="FFC400"/>
      </a:accent1>
      <a:accent2>
        <a:srgbClr val="0B6B0D"/>
      </a:accent2>
      <a:accent3>
        <a:srgbClr val="137ADB"/>
      </a:accent3>
      <a:accent4>
        <a:srgbClr val="F05C1D"/>
      </a:accent4>
      <a:accent5>
        <a:srgbClr val="F90C27"/>
      </a:accent5>
      <a:accent6>
        <a:srgbClr val="00B050"/>
      </a:accent6>
      <a:hlink>
        <a:srgbClr val="137ADB"/>
      </a:hlink>
      <a:folHlink>
        <a:srgbClr val="F2F2F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GTDAJ">
    <a:dk1>
      <a:srgbClr val="323C47"/>
    </a:dk1>
    <a:lt1>
      <a:srgbClr val="FFFFFF"/>
    </a:lt1>
    <a:dk2>
      <a:srgbClr val="074E8E"/>
    </a:dk2>
    <a:lt2>
      <a:srgbClr val="E3F1FD"/>
    </a:lt2>
    <a:accent1>
      <a:srgbClr val="FFC400"/>
    </a:accent1>
    <a:accent2>
      <a:srgbClr val="0B6B0D"/>
    </a:accent2>
    <a:accent3>
      <a:srgbClr val="137ADB"/>
    </a:accent3>
    <a:accent4>
      <a:srgbClr val="F05C1D"/>
    </a:accent4>
    <a:accent5>
      <a:srgbClr val="F90C27"/>
    </a:accent5>
    <a:accent6>
      <a:srgbClr val="00B050"/>
    </a:accent6>
    <a:hlink>
      <a:srgbClr val="137ADB"/>
    </a:hlink>
    <a:folHlink>
      <a:srgbClr val="F2F2F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4de650c3-37b1-4e5d-b84d-6224f8bacd4d">
      <UserInfo>
        <DisplayName/>
        <AccountId xsi:nil="true"/>
        <AccountType/>
      </UserInfo>
    </SharedWithUsers>
    <VariationsItemGroupID xmlns="http://schemas.microsoft.com/sharepoint/v3">582027ba-9b7a-402a-a506-b6de1ecea396</VariationsItemGroupID>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243D4B14C0BE43468DDF52E697DA3662" ma:contentTypeVersion="4" ma:contentTypeDescription="Crear nuevo documento." ma:contentTypeScope="" ma:versionID="fd0155a4d19fb5035e13aba250e12934">
  <xsd:schema xmlns:xsd="http://www.w3.org/2001/XMLSchema" xmlns:xs="http://www.w3.org/2001/XMLSchema" xmlns:p="http://schemas.microsoft.com/office/2006/metadata/properties" xmlns:ns1="http://schemas.microsoft.com/sharepoint/v3" xmlns:ns2="4de650c3-37b1-4e5d-b84d-6224f8bacd4d" targetNamespace="http://schemas.microsoft.com/office/2006/metadata/properties" ma:root="true" ma:fieldsID="1926d69605a70fa11e7d65089a737631" ns1:_="" ns2:_="">
    <xsd:import namespace="http://schemas.microsoft.com/sharepoint/v3"/>
    <xsd:import namespace="4de650c3-37b1-4e5d-b84d-6224f8bacd4d"/>
    <xsd:element name="properties">
      <xsd:complexType>
        <xsd:sequence>
          <xsd:element name="documentManagement">
            <xsd:complexType>
              <xsd:all>
                <xsd:element ref="ns1:PublishingStartDate" minOccurs="0"/>
                <xsd:element ref="ns1:PublishingExpirationDate" minOccurs="0"/>
                <xsd:element ref="ns1:VariationsItemGroupID"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Fecha de inicio programada" ma:description="Fecha de inicio programada es una columna del sitio que crea la característica Publicación. Se usa para especificar la fecha y la hora a la que esta página se presentará por primera vez a los visitantes del sitio." ma:hidden="true" ma:internalName="PublishingStartDate">
      <xsd:simpleType>
        <xsd:restriction base="dms:Unknown"/>
      </xsd:simpleType>
    </xsd:element>
    <xsd:element name="PublishingExpirationDate" ma:index="9" nillable="true" ma:displayName="Fecha de finalización programada" ma:description="Fecha de finalización programada es una columna del sitio que crea la característica Publicación. Se usa para especificar la fecha y la hora a la que esta página dejará de presentarse a los visitantes del sitio." ma:hidden="true" ma:internalName="PublishingExpirationDate">
      <xsd:simpleType>
        <xsd:restriction base="dms:Unknown"/>
      </xsd:simpleType>
    </xsd:element>
    <xsd:element name="VariationsItemGroupID" ma:index="10" nillable="true" ma:displayName="Identificador de grupo de elementos" ma:description="" ma:hidden="true" ma:internalName="VariationsItemGroupID">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de650c3-37b1-4e5d-b84d-6224f8bacd4d" elementFormDefault="qualified">
    <xsd:import namespace="http://schemas.microsoft.com/office/2006/documentManagement/types"/>
    <xsd:import namespace="http://schemas.microsoft.com/office/infopath/2007/PartnerControls"/>
    <xsd:element name="SharedWithUsers" ma:index="11"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34BDE75-8990-445E-A5CF-3A4967CD8EEE}">
  <ds:schemaRefs>
    <ds:schemaRef ds:uri="http://schemas.microsoft.com/office/infopath/2007/PartnerControls"/>
    <ds:schemaRef ds:uri="http://schemas.microsoft.com/office/2006/documentManagement/types"/>
    <ds:schemaRef ds:uri="http://purl.org/dc/elements/1.1/"/>
    <ds:schemaRef ds:uri="http://www.w3.org/XML/1998/namespace"/>
    <ds:schemaRef ds:uri="http://schemas.microsoft.com/office/2006/metadata/properties"/>
    <ds:schemaRef ds:uri="http://schemas.openxmlformats.org/package/2006/metadata/core-properties"/>
    <ds:schemaRef ds:uri="a6104bc3-87de-4702-952f-55091e6f48e1"/>
    <ds:schemaRef ds:uri="c0001f38-d1cd-45ec-888f-c4f36c187dc8"/>
    <ds:schemaRef ds:uri="http://purl.org/dc/dcmitype/"/>
    <ds:schemaRef ds:uri="http://purl.org/dc/terms/"/>
  </ds:schemaRefs>
</ds:datastoreItem>
</file>

<file path=customXml/itemProps2.xml><?xml version="1.0" encoding="utf-8"?>
<ds:datastoreItem xmlns:ds="http://schemas.openxmlformats.org/officeDocument/2006/customXml" ds:itemID="{ADE2ABBA-B766-48E2-AF50-718BA7395B34}"/>
</file>

<file path=customXml/itemProps3.xml><?xml version="1.0" encoding="utf-8"?>
<ds:datastoreItem xmlns:ds="http://schemas.openxmlformats.org/officeDocument/2006/customXml" ds:itemID="{75413DDA-F7BF-4ED0-B418-B62B142977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3</TotalTime>
  <Words>1735</Words>
  <Application>Microsoft Office PowerPoint</Application>
  <PresentationFormat>Presentación en pantalla (4:3)</PresentationFormat>
  <Paragraphs>154</Paragraphs>
  <Slides>11</Slides>
  <Notes>8</Notes>
  <HiddenSlides>0</HiddenSlides>
  <MMClips>0</MMClips>
  <ScaleCrop>false</ScaleCrop>
  <HeadingPairs>
    <vt:vector size="8" baseType="variant">
      <vt:variant>
        <vt:lpstr>Fuentes usadas</vt:lpstr>
      </vt:variant>
      <vt:variant>
        <vt:i4>6</vt:i4>
      </vt:variant>
      <vt:variant>
        <vt:lpstr>Tema</vt:lpstr>
      </vt:variant>
      <vt:variant>
        <vt:i4>2</vt:i4>
      </vt:variant>
      <vt:variant>
        <vt:lpstr>Servidores OLE incrustados</vt:lpstr>
      </vt:variant>
      <vt:variant>
        <vt:i4>1</vt:i4>
      </vt:variant>
      <vt:variant>
        <vt:lpstr>Títulos de diapositiva</vt:lpstr>
      </vt:variant>
      <vt:variant>
        <vt:i4>11</vt:i4>
      </vt:variant>
    </vt:vector>
  </HeadingPairs>
  <TitlesOfParts>
    <vt:vector size="20" baseType="lpstr">
      <vt:lpstr>Arial</vt:lpstr>
      <vt:lpstr>Arial Narrow</vt:lpstr>
      <vt:lpstr>Calibri</vt:lpstr>
      <vt:lpstr>Courier New</vt:lpstr>
      <vt:lpstr>Symbol</vt:lpstr>
      <vt:lpstr>Wingdings</vt:lpstr>
      <vt:lpstr>Tema de Office</vt:lpstr>
      <vt:lpstr>1_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uesto Trabajo Deslocalizado_ForoTD</dc:title>
  <dc:creator>presentaciones</dc:creator>
  <cp:lastModifiedBy>Pilar Pérez Castillo</cp:lastModifiedBy>
  <cp:revision>2</cp:revision>
  <cp:lastPrinted>2022-04-20T04:42:42Z</cp:lastPrinted>
  <dcterms:created xsi:type="dcterms:W3CDTF">2012-05-17T08:07:55Z</dcterms:created>
  <dcterms:modified xsi:type="dcterms:W3CDTF">2022-04-21T11:5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3D4B14C0BE43468DDF52E697DA3662</vt:lpwstr>
  </property>
  <property fmtid="{D5CDD505-2E9C-101B-9397-08002B2CF9AE}" pid="3" name="xd_ProgID">
    <vt:lpwstr/>
  </property>
  <property fmtid="{D5CDD505-2E9C-101B-9397-08002B2CF9AE}" pid="4" name="ComplianceAssetId">
    <vt:lpwstr/>
  </property>
  <property fmtid="{D5CDD505-2E9C-101B-9397-08002B2CF9AE}" pid="5" name="TemplateUrl">
    <vt:lpwstr/>
  </property>
  <property fmtid="{D5CDD505-2E9C-101B-9397-08002B2CF9AE}" pid="6" name="_ExtendedDescription">
    <vt:lpwstr/>
  </property>
  <property fmtid="{D5CDD505-2E9C-101B-9397-08002B2CF9AE}" pid="7" name="TriggerFlowInfo">
    <vt:lpwstr/>
  </property>
  <property fmtid="{D5CDD505-2E9C-101B-9397-08002B2CF9AE}" pid="8" name="xd_Signature">
    <vt:bool>false</vt:bool>
  </property>
</Properties>
</file>